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5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theme/themeOverride7.xml" ContentType="application/vnd.openxmlformats-officedocument.themeOverr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0.xml" ContentType="application/vnd.openxmlformats-officedocument.themeOverride+xml"/>
  <Override PartName="/ppt/drawings/drawing1.xml" ContentType="application/vnd.openxmlformats-officedocument.drawingml.chartshapes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1.xml" ContentType="application/vnd.openxmlformats-officedocument.themeOverride+xml"/>
  <Override PartName="/ppt/drawings/drawing2.xml" ContentType="application/vnd.openxmlformats-officedocument.drawingml.chartshapes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2.xml" ContentType="application/vnd.openxmlformats-officedocument.themeOverride+xml"/>
  <Override PartName="/ppt/drawings/drawing3.xml" ContentType="application/vnd.openxmlformats-officedocument.drawingml.chartshapes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7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13.xml" ContentType="application/vnd.openxmlformats-officedocument.themeOverride+xml"/>
  <Override PartName="/ppt/drawings/drawing4.xml" ContentType="application/vnd.openxmlformats-officedocument.drawingml.chartshape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1" r:id="rId2"/>
  </p:sldMasterIdLst>
  <p:notesMasterIdLst>
    <p:notesMasterId r:id="rId55"/>
  </p:notesMasterIdLst>
  <p:sldIdLst>
    <p:sldId id="256" r:id="rId3"/>
    <p:sldId id="2147473475" r:id="rId4"/>
    <p:sldId id="2147473476" r:id="rId5"/>
    <p:sldId id="273" r:id="rId6"/>
    <p:sldId id="2147482204" r:id="rId7"/>
    <p:sldId id="2147482221" r:id="rId8"/>
    <p:sldId id="2147482205" r:id="rId9"/>
    <p:sldId id="2147482206" r:id="rId10"/>
    <p:sldId id="2147482207" r:id="rId11"/>
    <p:sldId id="2147482208" r:id="rId12"/>
    <p:sldId id="2147482209" r:id="rId13"/>
    <p:sldId id="2147482220" r:id="rId14"/>
    <p:sldId id="2147482211" r:id="rId15"/>
    <p:sldId id="2147482212" r:id="rId16"/>
    <p:sldId id="2147482231" r:id="rId17"/>
    <p:sldId id="271" r:id="rId18"/>
    <p:sldId id="2147482228" r:id="rId19"/>
    <p:sldId id="2147482229" r:id="rId20"/>
    <p:sldId id="2147482230" r:id="rId21"/>
    <p:sldId id="278" r:id="rId22"/>
    <p:sldId id="2147482233" r:id="rId23"/>
    <p:sldId id="2147482225" r:id="rId24"/>
    <p:sldId id="2147482226" r:id="rId25"/>
    <p:sldId id="2147482227" r:id="rId26"/>
    <p:sldId id="277" r:id="rId27"/>
    <p:sldId id="2147482174" r:id="rId28"/>
    <p:sldId id="274" r:id="rId29"/>
    <p:sldId id="2147482198" r:id="rId30"/>
    <p:sldId id="2147482200" r:id="rId31"/>
    <p:sldId id="2147482178" r:id="rId32"/>
    <p:sldId id="2147482179" r:id="rId33"/>
    <p:sldId id="2147482213" r:id="rId34"/>
    <p:sldId id="2147482214" r:id="rId35"/>
    <p:sldId id="2147482180" r:id="rId36"/>
    <p:sldId id="2147482183" r:id="rId37"/>
    <p:sldId id="2147482181" r:id="rId38"/>
    <p:sldId id="2147482184" r:id="rId39"/>
    <p:sldId id="2147482201" r:id="rId40"/>
    <p:sldId id="2147482202" r:id="rId41"/>
    <p:sldId id="2147482185" r:id="rId42"/>
    <p:sldId id="2147482192" r:id="rId43"/>
    <p:sldId id="2147482194" r:id="rId44"/>
    <p:sldId id="2147482193" r:id="rId45"/>
    <p:sldId id="2147482195" r:id="rId46"/>
    <p:sldId id="2147482186" r:id="rId47"/>
    <p:sldId id="2147482187" r:id="rId48"/>
    <p:sldId id="2147482199" r:id="rId49"/>
    <p:sldId id="2147482188" r:id="rId50"/>
    <p:sldId id="2147482190" r:id="rId51"/>
    <p:sldId id="2147482191" r:id="rId52"/>
    <p:sldId id="276" r:id="rId53"/>
    <p:sldId id="2147469651" r:id="rId54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FDBBFA19-E53D-4F06-A8B6-CC0064AC0F6C}">
          <p14:sldIdLst>
            <p14:sldId id="256"/>
            <p14:sldId id="2147473475"/>
            <p14:sldId id="2147473476"/>
            <p14:sldId id="273"/>
            <p14:sldId id="2147482204"/>
            <p14:sldId id="2147482221"/>
            <p14:sldId id="2147482205"/>
            <p14:sldId id="2147482206"/>
            <p14:sldId id="2147482207"/>
            <p14:sldId id="2147482208"/>
            <p14:sldId id="2147482209"/>
            <p14:sldId id="2147482220"/>
            <p14:sldId id="2147482211"/>
            <p14:sldId id="2147482212"/>
          </p14:sldIdLst>
        </p14:section>
        <p14:section name="Casos" id="{66EA1696-171B-48F3-974F-2B54BDEB7090}">
          <p14:sldIdLst>
            <p14:sldId id="2147482231"/>
            <p14:sldId id="271"/>
            <p14:sldId id="2147482228"/>
            <p14:sldId id="2147482229"/>
            <p14:sldId id="2147482230"/>
            <p14:sldId id="278"/>
            <p14:sldId id="2147482233"/>
            <p14:sldId id="2147482225"/>
            <p14:sldId id="2147482226"/>
            <p14:sldId id="2147482227"/>
            <p14:sldId id="277"/>
            <p14:sldId id="2147482174"/>
            <p14:sldId id="274"/>
            <p14:sldId id="2147482198"/>
            <p14:sldId id="2147482200"/>
            <p14:sldId id="2147482178"/>
            <p14:sldId id="2147482179"/>
            <p14:sldId id="2147482213"/>
            <p14:sldId id="2147482214"/>
            <p14:sldId id="2147482180"/>
            <p14:sldId id="2147482183"/>
            <p14:sldId id="2147482181"/>
            <p14:sldId id="2147482184"/>
            <p14:sldId id="2147482201"/>
            <p14:sldId id="2147482202"/>
            <p14:sldId id="2147482185"/>
            <p14:sldId id="2147482192"/>
            <p14:sldId id="2147482194"/>
            <p14:sldId id="2147482193"/>
            <p14:sldId id="2147482195"/>
            <p14:sldId id="2147482186"/>
            <p14:sldId id="2147482187"/>
            <p14:sldId id="2147482199"/>
            <p14:sldId id="2147482188"/>
            <p14:sldId id="2147482190"/>
            <p14:sldId id="2147482191"/>
            <p14:sldId id="276"/>
            <p14:sldId id="214746965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E0ACC71-F7D8-C085-4632-B159200EB3C8}" name="Francesca Pajuelo Lorenzo" initials="FPL" userId="S::fpajuelo@almirall.com::16c67662-766d-4660-965d-c6de48f6c51c" providerId="AD"/>
  <p188:author id="{12E7D8BB-F55F-70DD-C7F5-DB403054D4F2}" name="Nora Dieguez Martínez" initials="NDM" userId="S::ndieguez@almirall.com::b70c80d3-d373-441d-a907-b6544ba9a1a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4E1D6"/>
    <a:srgbClr val="BDD7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theme" Target="theme/theme1.xml"/><Relationship Id="rId5" Type="http://schemas.openxmlformats.org/officeDocument/2006/relationships/slide" Target="slides/slide3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viewProps" Target="viewProp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1.xml"/><Relationship Id="rId1" Type="http://schemas.microsoft.com/office/2011/relationships/chartStyle" Target="style1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3.xml"/><Relationship Id="rId1" Type="http://schemas.microsoft.com/office/2011/relationships/chartStyle" Target="style13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4.xml"/><Relationship Id="rId1" Type="http://schemas.microsoft.com/office/2011/relationships/chartStyle" Target="style14.xml"/><Relationship Id="rId5" Type="http://schemas.openxmlformats.org/officeDocument/2006/relationships/chartUserShapes" Target="../drawings/drawing3.xml"/><Relationship Id="rId4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6.xml"/><Relationship Id="rId1" Type="http://schemas.microsoft.com/office/2011/relationships/chartStyle" Target="style16.xml"/><Relationship Id="rId5" Type="http://schemas.openxmlformats.org/officeDocument/2006/relationships/chartUserShapes" Target="../drawings/drawing4.xml"/><Relationship Id="rId4" Type="http://schemas.openxmlformats.org/officeDocument/2006/relationships/package" Target="../embeddings/Microsoft_Excel_Worksheet16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628573028673834"/>
          <c:y val="4.908405474999851E-2"/>
          <c:w val="0.82806686827956988"/>
          <c:h val="0.826737882291087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F0B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5A0-43F4-BC43-D5F55D376B5E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Complete clearance </c:v>
                </c:pt>
                <c:pt idx="1">
                  <c:v>Partial Clearance*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5171</c:v>
                </c:pt>
                <c:pt idx="1">
                  <c:v>0.72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5A0-43F4-BC43-D5F55D376B5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804121263"/>
        <c:axId val="927774880"/>
      </c:barChart>
      <c:catAx>
        <c:axId val="18041212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27774880"/>
        <c:crosses val="autoZero"/>
        <c:auto val="1"/>
        <c:lblAlgn val="ctr"/>
        <c:lblOffset val="100"/>
        <c:noMultiLvlLbl val="0"/>
      </c:catAx>
      <c:valAx>
        <c:axId val="927774880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804121263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06191520467836"/>
          <c:y val="2.587037037037037E-2"/>
          <c:w val="0.62179311342592591"/>
          <c:h val="0.7444544444444444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ch/Somewhat Likely</c:v>
                </c:pt>
              </c:strCache>
            </c:strRef>
          </c:tx>
          <c:spPr>
            <a:solidFill>
              <a:srgbClr val="002855"/>
            </a:solidFill>
            <a:ln>
              <a:solidFill>
                <a:srgbClr val="002855"/>
              </a:solidFill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87319999999999998</c:v>
                </c:pt>
                <c:pt idx="1">
                  <c:v>0.873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45-48B1-A8D1-CFC42FA8C86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ame</c:v>
                </c:pt>
              </c:strCache>
            </c:strRef>
          </c:tx>
          <c:spPr>
            <a:solidFill>
              <a:srgbClr val="00F0BE"/>
            </a:solidFill>
            <a:ln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1.3247348889114031E-2"/>
                  <c:y val="-0.1711497859026985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F45-48B1-A8D1-CFC42FA8C866}"/>
                </c:ext>
              </c:extLst>
            </c:dLbl>
            <c:dLbl>
              <c:idx val="1"/>
              <c:layout>
                <c:manualLayout>
                  <c:x val="1.7004223959672746E-2"/>
                  <c:y val="-0.1449988498741975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F45-48B1-A8D1-CFC42FA8C8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6.83E-2</c:v>
                </c:pt>
                <c:pt idx="1">
                  <c:v>6.8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F45-48B1-A8D1-CFC42FA8C86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uch/Somewhat Unlikely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5.2365017361111113E-2"/>
                  <c:y val="-6.403483048786293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F45-48B1-A8D1-CFC42FA8C866}"/>
                </c:ext>
              </c:extLst>
            </c:dLbl>
            <c:dLbl>
              <c:idx val="1"/>
              <c:layout>
                <c:manualLayout>
                  <c:x val="5.4176071339003123E-2"/>
                  <c:y val="-9.407407407407407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F45-48B1-A8D1-CFC42FA8C8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D$2:$D$3</c:f>
              <c:numCache>
                <c:formatCode>0.00%</c:formatCode>
                <c:ptCount val="2"/>
                <c:pt idx="0">
                  <c:v>5.8500000000000003E-2</c:v>
                </c:pt>
                <c:pt idx="1">
                  <c:v>5.85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F45-48B1-A8D1-CFC42FA8C86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73749983"/>
        <c:axId val="840305951"/>
      </c:barChart>
      <c:catAx>
        <c:axId val="97374998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40305951"/>
        <c:crosses val="autoZero"/>
        <c:auto val="1"/>
        <c:lblAlgn val="ctr"/>
        <c:lblOffset val="100"/>
        <c:noMultiLvlLbl val="0"/>
      </c:catAx>
      <c:valAx>
        <c:axId val="840305951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73749983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0847417473100225"/>
          <c:y val="7.8018949329647078E-2"/>
          <c:w val="0.1410143761071278"/>
          <c:h val="0.86959391468833169"/>
        </c:manualLayout>
      </c:layout>
      <c:overlay val="0"/>
      <c:spPr>
        <a:noFill/>
        <a:ln w="3175">
          <a:solidFill>
            <a:srgbClr val="002855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600608467161337"/>
          <c:y val="0.15174236204956257"/>
          <c:w val="0.80198148148148152"/>
          <c:h val="0.707266876521634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1166666666666667E-2"/>
                  <c:y val="1.411111111111111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4AE-4A57-8DA7-C018593556DD}"/>
                </c:ext>
              </c:extLst>
            </c:dLbl>
            <c:dLbl>
              <c:idx val="1"/>
              <c:layout>
                <c:manualLayout>
                  <c:x val="-2.3518518518518518E-2"/>
                  <c:y val="-1.2935035758548312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4AE-4A57-8DA7-C018593556DD}"/>
                </c:ext>
              </c:extLst>
            </c:dLbl>
            <c:dLbl>
              <c:idx val="2"/>
              <c:layout>
                <c:manualLayout>
                  <c:x val="-2.58703703703703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4AE-4A57-8DA7-C018593556DD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77339999999999998</c:v>
                </c:pt>
                <c:pt idx="1">
                  <c:v>7.5499999999999998E-2</c:v>
                </c:pt>
                <c:pt idx="2">
                  <c:v>0.151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4AE-4A57-8DA7-C018593556D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3678112122674656E-2"/>
                  <c:y val="1.147312999425352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4AE-4A57-8DA7-C018593556DD}"/>
                </c:ext>
              </c:extLst>
            </c:dLbl>
            <c:dLbl>
              <c:idx val="1"/>
              <c:layout>
                <c:manualLayout>
                  <c:x val="9.407407407407321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4AE-4A57-8DA7-C018593556DD}"/>
                </c:ext>
              </c:extLst>
            </c:dLbl>
            <c:dLbl>
              <c:idx val="2"/>
              <c:layout>
                <c:manualLayout>
                  <c:x val="1.4111111111111067E-2"/>
                  <c:y val="-3.527777777777777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4AE-4A57-8DA7-C018593556DD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C$2:$C$4</c:f>
              <c:numCache>
                <c:formatCode>0.00%</c:formatCode>
                <c:ptCount val="3"/>
                <c:pt idx="0">
                  <c:v>0.78420000000000001</c:v>
                </c:pt>
                <c:pt idx="1">
                  <c:v>0.12230000000000001</c:v>
                </c:pt>
                <c:pt idx="2">
                  <c:v>9.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4AE-4A57-8DA7-C018593556D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200358202711359"/>
          <c:y val="5.3974564320794283E-2"/>
          <c:w val="0.36914332030381863"/>
          <c:h val="0.120390555555555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0" i="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428907407407408"/>
          <c:y val="0.11035909020533995"/>
          <c:w val="0.81198122065727696"/>
          <c:h val="0.690131111111111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1062800237699509E-2"/>
                  <c:y val="2.3233414499412169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rgbClr val="00285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CB4-4361-954B-3A6FD5E89777}"/>
                </c:ext>
              </c:extLst>
            </c:dLbl>
            <c:dLbl>
              <c:idx val="1"/>
              <c:layout>
                <c:manualLayout>
                  <c:x val="-1.9769821564003819E-2"/>
                  <c:y val="2.453009733491115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CB4-4361-954B-3A6FD5E89777}"/>
                </c:ext>
              </c:extLst>
            </c:dLbl>
            <c:dLbl>
              <c:idx val="2"/>
              <c:layout>
                <c:manualLayout>
                  <c:x val="-1.5467215732786074E-2"/>
                  <c:y val="-1.7641780932373534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CB4-4361-954B-3A6FD5E89777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uch / Somewhat Improved</c:v>
                </c:pt>
                <c:pt idx="1">
                  <c:v>No Change</c:v>
                </c:pt>
                <c:pt idx="2">
                  <c:v>Much / Somewhat Wors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9103</c:v>
                </c:pt>
                <c:pt idx="1">
                  <c:v>6.9000000000000006E-2</c:v>
                </c:pt>
                <c:pt idx="2">
                  <c:v>2.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CB4-4361-954B-3A6FD5E8977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743086683846325E-2"/>
                  <c:y val="1.9880967863640988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285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CB4-4361-954B-3A6FD5E89777}"/>
                </c:ext>
              </c:extLst>
            </c:dLbl>
            <c:dLbl>
              <c:idx val="1"/>
              <c:layout>
                <c:manualLayout>
                  <c:x val="2.2275558835889737E-2"/>
                  <c:y val="-7.4952209335688151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CB4-4361-954B-3A6FD5E89777}"/>
                </c:ext>
              </c:extLst>
            </c:dLbl>
            <c:dLbl>
              <c:idx val="2"/>
              <c:layout>
                <c:manualLayout>
                  <c:x val="2.4052592592592594E-2"/>
                  <c:y val="-3.572478120577019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CB4-4361-954B-3A6FD5E89777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uch / Somewhat Improved</c:v>
                </c:pt>
                <c:pt idx="1">
                  <c:v>No Change</c:v>
                </c:pt>
                <c:pt idx="2">
                  <c:v>Much / Somewhat Worse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84140000000000004</c:v>
                </c:pt>
                <c:pt idx="1">
                  <c:v>0.14480000000000001</c:v>
                </c:pt>
                <c:pt idx="2">
                  <c:v>1.3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CB4-4361-954B-3A6FD5E8977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</c:legendEntry>
      <c:layout>
        <c:manualLayout>
          <c:xMode val="edge"/>
          <c:yMode val="edge"/>
          <c:x val="0.55664800824775884"/>
          <c:y val="1.0081361839018843E-2"/>
          <c:w val="0.42723604938559251"/>
          <c:h val="8.6416728101333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85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rgbClr val="002855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  <c:userShapes r:id="rId5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06191520467836"/>
          <c:y val="2.587037037037037E-2"/>
          <c:w val="0.62179311342592591"/>
          <c:h val="0.7444544444444444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ch/Somewhat Improved</c:v>
                </c:pt>
              </c:strCache>
            </c:strRef>
          </c:tx>
          <c:spPr>
            <a:solidFill>
              <a:srgbClr val="002855"/>
            </a:solidFill>
            <a:ln>
              <a:solidFill>
                <a:srgbClr val="002855"/>
              </a:solidFill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92969999999999997</c:v>
                </c:pt>
                <c:pt idx="1">
                  <c:v>0.9560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26-4DF4-8DF0-D5601E7AF02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 change</c:v>
                </c:pt>
              </c:strCache>
            </c:strRef>
          </c:tx>
          <c:spPr>
            <a:solidFill>
              <a:srgbClr val="00F0BE"/>
            </a:solidFill>
            <a:ln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2.7850877192982454E-3"/>
                  <c:y val="-0.1711496149614961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26-4DF4-8DF0-D5601E7AF020}"/>
                </c:ext>
              </c:extLst>
            </c:dLbl>
            <c:dLbl>
              <c:idx val="1"/>
              <c:layout>
                <c:manualLayout>
                  <c:x val="-8.189406132640192E-3"/>
                  <c:y val="-0.1599259259259259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26-4DF4-8DF0-D5601E7AF0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6.0299999999999999E-2</c:v>
                </c:pt>
                <c:pt idx="1">
                  <c:v>9.79999999999999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426-4DF4-8DF0-D5601E7AF02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uch/Somewhat Worse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4.409680225267696E-2"/>
                  <c:y val="-8.623357172365541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426-4DF4-8DF0-D5601E7AF020}"/>
                </c:ext>
              </c:extLst>
            </c:dLbl>
            <c:dLbl>
              <c:idx val="1"/>
              <c:layout>
                <c:manualLayout>
                  <c:x val="5.4176071339003123E-2"/>
                  <c:y val="-9.407407407407407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426-4DF4-8DF0-D5601E7AF0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D$2:$D$3</c:f>
              <c:numCache>
                <c:formatCode>0.00%</c:formatCode>
                <c:ptCount val="2"/>
                <c:pt idx="0">
                  <c:v>0.01</c:v>
                </c:pt>
                <c:pt idx="1">
                  <c:v>3.40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426-4DF4-8DF0-D5601E7AF02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73749983"/>
        <c:axId val="840305951"/>
      </c:barChart>
      <c:catAx>
        <c:axId val="97374998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40305951"/>
        <c:crosses val="autoZero"/>
        <c:auto val="1"/>
        <c:lblAlgn val="ctr"/>
        <c:lblOffset val="100"/>
        <c:noMultiLvlLbl val="0"/>
      </c:catAx>
      <c:valAx>
        <c:axId val="840305951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73749983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955424657623023"/>
          <c:y val="5.2557823429289718E-2"/>
          <c:w val="0.16531459780092592"/>
          <c:h val="0.80462126330435058"/>
        </c:manualLayout>
      </c:layout>
      <c:overlay val="0"/>
      <c:spPr>
        <a:noFill/>
        <a:ln w="3175">
          <a:solidFill>
            <a:srgbClr val="002855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428907407407408"/>
          <c:y val="0.11035909020533995"/>
          <c:w val="0.81198122065727696"/>
          <c:h val="0.690131111111111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763547430251405E-2"/>
                  <c:y val="1.5056715387775126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rgbClr val="00285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45C-432F-9DE0-DDDB336041E5}"/>
                </c:ext>
              </c:extLst>
            </c:dLbl>
            <c:dLbl>
              <c:idx val="1"/>
              <c:layout>
                <c:manualLayout>
                  <c:x val="-3.162146424979774E-2"/>
                  <c:y val="8.157769851682768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45C-432F-9DE0-DDDB336041E5}"/>
                </c:ext>
              </c:extLst>
            </c:dLbl>
            <c:dLbl>
              <c:idx val="2"/>
              <c:layout>
                <c:manualLayout>
                  <c:x val="-3.7739367220803788E-2"/>
                  <c:y val="2.696161992677037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45C-432F-9DE0-DDDB336041E5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uch / Somewhat Improved</c:v>
                </c:pt>
                <c:pt idx="1">
                  <c:v>No Change</c:v>
                </c:pt>
                <c:pt idx="2">
                  <c:v>Much / Somewhat Wors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83579999999999999</c:v>
                </c:pt>
                <c:pt idx="1">
                  <c:v>0.16059999999999999</c:v>
                </c:pt>
                <c:pt idx="2">
                  <c:v>3.599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45C-432F-9DE0-DDDB336041E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9626250306308543E-2"/>
                  <c:y val="1.7149139665572237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285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45C-432F-9DE0-DDDB336041E5}"/>
                </c:ext>
              </c:extLst>
            </c:dLbl>
            <c:dLbl>
              <c:idx val="1"/>
              <c:layout>
                <c:manualLayout>
                  <c:x val="1.9139919341064321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45C-432F-9DE0-DDDB336041E5}"/>
                </c:ext>
              </c:extLst>
            </c:dLbl>
            <c:dLbl>
              <c:idx val="2"/>
              <c:layout>
                <c:manualLayout>
                  <c:x val="-1.8177777777777778E-3"/>
                  <c:y val="-3.572478120577019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45C-432F-9DE0-DDDB336041E5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uch / Somewhat Improved</c:v>
                </c:pt>
                <c:pt idx="1">
                  <c:v>No Change</c:v>
                </c:pt>
                <c:pt idx="2">
                  <c:v>Much / Somewhat Worse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78469999999999995</c:v>
                </c:pt>
                <c:pt idx="1">
                  <c:v>0.1825</c:v>
                </c:pt>
                <c:pt idx="2">
                  <c:v>3.28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45C-432F-9DE0-DDDB336041E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7745545911375062"/>
          <c:y val="1.3616767232646004E-3"/>
          <c:w val="0.42254454088624943"/>
          <c:h val="0.128178333333333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85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rgbClr val="002855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  <c:userShapes r:id="rId5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428907407407408"/>
          <c:y val="0.11035909020533995"/>
          <c:w val="0.81198122065727696"/>
          <c:h val="0.690131111111111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1062800237699509E-2"/>
                  <c:y val="2.3233414499412169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rgbClr val="00285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EE9-4F81-8BC9-7670259189D3}"/>
                </c:ext>
              </c:extLst>
            </c:dLbl>
            <c:dLbl>
              <c:idx val="1"/>
              <c:layout>
                <c:manualLayout>
                  <c:x val="-1.9769821564003819E-2"/>
                  <c:y val="2.453009733491115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EE9-4F81-8BC9-7670259189D3}"/>
                </c:ext>
              </c:extLst>
            </c:dLbl>
            <c:dLbl>
              <c:idx val="2"/>
              <c:layout>
                <c:manualLayout>
                  <c:x val="-1.5467215732786074E-2"/>
                  <c:y val="-1.7641780932373534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EE9-4F81-8BC9-7670259189D3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uch / Somewhat Improved</c:v>
                </c:pt>
                <c:pt idx="1">
                  <c:v>No Change</c:v>
                </c:pt>
                <c:pt idx="2">
                  <c:v>Much / Somewhat Wors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9103</c:v>
                </c:pt>
                <c:pt idx="1">
                  <c:v>6.9000000000000006E-2</c:v>
                </c:pt>
                <c:pt idx="2">
                  <c:v>2.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EE9-4F81-8BC9-7670259189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743086683846325E-2"/>
                  <c:y val="1.9880967863640988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285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EE9-4F81-8BC9-7670259189D3}"/>
                </c:ext>
              </c:extLst>
            </c:dLbl>
            <c:dLbl>
              <c:idx val="1"/>
              <c:layout>
                <c:manualLayout>
                  <c:x val="2.2275558835889737E-2"/>
                  <c:y val="-7.4952209335688151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EE9-4F81-8BC9-7670259189D3}"/>
                </c:ext>
              </c:extLst>
            </c:dLbl>
            <c:dLbl>
              <c:idx val="2"/>
              <c:layout>
                <c:manualLayout>
                  <c:x val="2.4052592592592594E-2"/>
                  <c:y val="-3.572478120577019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EE9-4F81-8BC9-7670259189D3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uch / Somewhat Improved</c:v>
                </c:pt>
                <c:pt idx="1">
                  <c:v>No Change</c:v>
                </c:pt>
                <c:pt idx="2">
                  <c:v>Much / Somewhat Worse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84140000000000004</c:v>
                </c:pt>
                <c:pt idx="1">
                  <c:v>0.14480000000000001</c:v>
                </c:pt>
                <c:pt idx="2">
                  <c:v>1.3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EE9-4F81-8BC9-7670259189D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</c:legendEntry>
      <c:layout>
        <c:manualLayout>
          <c:xMode val="edge"/>
          <c:yMode val="edge"/>
          <c:x val="0.55664800824775884"/>
          <c:y val="1.0081361839018843E-2"/>
          <c:w val="0.42723604938559251"/>
          <c:h val="8.6416728101333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85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rgbClr val="002855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  <c:userShapes r:id="rId5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06191520467836"/>
          <c:y val="2.587037037037037E-2"/>
          <c:w val="0.62179311342592591"/>
          <c:h val="0.7444544444444444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ch/Somewhat Improved</c:v>
                </c:pt>
              </c:strCache>
            </c:strRef>
          </c:tx>
          <c:spPr>
            <a:solidFill>
              <a:srgbClr val="002855"/>
            </a:solidFill>
            <a:ln>
              <a:solidFill>
                <a:srgbClr val="002855"/>
              </a:solidFill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92969999999999997</c:v>
                </c:pt>
                <c:pt idx="1">
                  <c:v>0.9560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64-4CDE-8C3E-4C56063FA8C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 change</c:v>
                </c:pt>
              </c:strCache>
            </c:strRef>
          </c:tx>
          <c:spPr>
            <a:solidFill>
              <a:srgbClr val="00F0BE"/>
            </a:solidFill>
            <a:ln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2.7850877192982454E-3"/>
                  <c:y val="-0.1711496149614961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364-4CDE-8C3E-4C56063FA8CB}"/>
                </c:ext>
              </c:extLst>
            </c:dLbl>
            <c:dLbl>
              <c:idx val="1"/>
              <c:layout>
                <c:manualLayout>
                  <c:x val="-8.189406132640192E-3"/>
                  <c:y val="-0.1599259259259259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364-4CDE-8C3E-4C56063FA8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6.0299999999999999E-2</c:v>
                </c:pt>
                <c:pt idx="1">
                  <c:v>9.79999999999999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364-4CDE-8C3E-4C56063FA8C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uch/Somewhat Worse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4.409680225267696E-2"/>
                  <c:y val="-8.623357172365541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364-4CDE-8C3E-4C56063FA8CB}"/>
                </c:ext>
              </c:extLst>
            </c:dLbl>
            <c:dLbl>
              <c:idx val="1"/>
              <c:layout>
                <c:manualLayout>
                  <c:x val="5.4176071339003123E-2"/>
                  <c:y val="-9.407407407407407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364-4CDE-8C3E-4C56063FA8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D$2:$D$3</c:f>
              <c:numCache>
                <c:formatCode>0.00%</c:formatCode>
                <c:ptCount val="2"/>
                <c:pt idx="0">
                  <c:v>0.01</c:v>
                </c:pt>
                <c:pt idx="1">
                  <c:v>3.40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364-4CDE-8C3E-4C56063FA8C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73749983"/>
        <c:axId val="840305951"/>
      </c:barChart>
      <c:catAx>
        <c:axId val="97374998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40305951"/>
        <c:crosses val="autoZero"/>
        <c:auto val="1"/>
        <c:lblAlgn val="ctr"/>
        <c:lblOffset val="100"/>
        <c:noMultiLvlLbl val="0"/>
      </c:catAx>
      <c:valAx>
        <c:axId val="840305951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73749983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955424657623023"/>
          <c:y val="5.2557823429289718E-2"/>
          <c:w val="0.16531459780092592"/>
          <c:h val="0.80462126330435058"/>
        </c:manualLayout>
      </c:layout>
      <c:overlay val="0"/>
      <c:spPr>
        <a:noFill/>
        <a:ln w="3175">
          <a:solidFill>
            <a:srgbClr val="002855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428907407407408"/>
          <c:y val="0.11035909020533995"/>
          <c:w val="0.81198122065727696"/>
          <c:h val="0.690131111111111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763547430251405E-2"/>
                  <c:y val="1.5056715387775126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rgbClr val="00285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D0F-4A14-9ECB-BF46AADFB676}"/>
                </c:ext>
              </c:extLst>
            </c:dLbl>
            <c:dLbl>
              <c:idx val="1"/>
              <c:layout>
                <c:manualLayout>
                  <c:x val="-3.162146424979774E-2"/>
                  <c:y val="8.157769851682768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D0F-4A14-9ECB-BF46AADFB676}"/>
                </c:ext>
              </c:extLst>
            </c:dLbl>
            <c:dLbl>
              <c:idx val="2"/>
              <c:layout>
                <c:manualLayout>
                  <c:x val="-3.7739367220803788E-2"/>
                  <c:y val="2.696161992677037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D0F-4A14-9ECB-BF46AADFB676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uch / Somewhat Improved</c:v>
                </c:pt>
                <c:pt idx="1">
                  <c:v>No Change</c:v>
                </c:pt>
                <c:pt idx="2">
                  <c:v>Much / Somewhat Wors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83579999999999999</c:v>
                </c:pt>
                <c:pt idx="1">
                  <c:v>0.16059999999999999</c:v>
                </c:pt>
                <c:pt idx="2">
                  <c:v>3.599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0F-4A14-9ECB-BF46AADFB67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9626250306308543E-2"/>
                  <c:y val="1.7149139665572237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285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D0F-4A14-9ECB-BF46AADFB676}"/>
                </c:ext>
              </c:extLst>
            </c:dLbl>
            <c:dLbl>
              <c:idx val="1"/>
              <c:layout>
                <c:manualLayout>
                  <c:x val="1.9139919341064321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D0F-4A14-9ECB-BF46AADFB676}"/>
                </c:ext>
              </c:extLst>
            </c:dLbl>
            <c:dLbl>
              <c:idx val="2"/>
              <c:layout>
                <c:manualLayout>
                  <c:x val="-1.8177777777777778E-3"/>
                  <c:y val="-3.572478120577019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D0F-4A14-9ECB-BF46AADFB676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uch / Somewhat Improved</c:v>
                </c:pt>
                <c:pt idx="1">
                  <c:v>No Change</c:v>
                </c:pt>
                <c:pt idx="2">
                  <c:v>Much / Somewhat Worse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78469999999999995</c:v>
                </c:pt>
                <c:pt idx="1">
                  <c:v>0.1825</c:v>
                </c:pt>
                <c:pt idx="2">
                  <c:v>3.28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D0F-4A14-9ECB-BF46AADFB67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7745545911375062"/>
          <c:y val="1.3616767232646004E-3"/>
          <c:w val="0.42254454088624943"/>
          <c:h val="0.128178333333333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85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rgbClr val="002855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219501230267564"/>
          <c:y val="0.11812040745622275"/>
          <c:w val="0.82523820919116131"/>
          <c:h val="0.72579406135761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mana 8 (N=290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8.037974683544304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572-40C6-9E3B-86161E72AFC3}"/>
                </c:ext>
              </c:extLst>
            </c:dLbl>
            <c:dLbl>
              <c:idx val="1"/>
              <c:layout>
                <c:manualLayout>
                  <c:x val="-7.1448663853726493E-3"/>
                  <c:y val="7.338158220513965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572-40C6-9E3B-86161E72AFC3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Aclaramiento parcial/completo</c:v>
                </c:pt>
                <c:pt idx="1">
                  <c:v>Aclaramiento moderado</c:v>
                </c:pt>
                <c:pt idx="2">
                  <c:v>Aclaramiento mínimo/no aclaramiento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73799999999999999</c:v>
                </c:pt>
                <c:pt idx="1">
                  <c:v>0.17199999999999999</c:v>
                </c:pt>
                <c:pt idx="2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572-40C6-9E3B-86161E72AFC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mana 24 (N=278)</c:v>
                </c:pt>
              </c:strCache>
            </c:strRef>
          </c:tx>
          <c:spPr>
            <a:solidFill>
              <a:srgbClr val="B4E1D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8.9310829817158596E-3"/>
                  <c:y val="-7.338158220513965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572-40C6-9E3B-86161E72AFC3}"/>
                </c:ext>
              </c:extLst>
            </c:dLbl>
            <c:dLbl>
              <c:idx val="1"/>
              <c:layout>
                <c:manualLayout>
                  <c:x val="8.0379746835442384E-3"/>
                  <c:y val="7.338158220513965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572-40C6-9E3B-86161E72AFC3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Aclaramiento parcial/completo</c:v>
                </c:pt>
                <c:pt idx="1">
                  <c:v>Aclaramiento moderado</c:v>
                </c:pt>
                <c:pt idx="2">
                  <c:v>Aclaramiento mínimo/no aclaramiento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71899999999999997</c:v>
                </c:pt>
                <c:pt idx="1">
                  <c:v>0.112</c:v>
                </c:pt>
                <c:pt idx="2">
                  <c:v>0.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572-40C6-9E3B-86161E72AFC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s-ES" sz="1400"/>
                  <a:t>Proporción de pacientes</a:t>
                </a:r>
              </a:p>
            </c:rich>
          </c:tx>
          <c:layout>
            <c:manualLayout>
              <c:xMode val="edge"/>
              <c:yMode val="edge"/>
              <c:x val="2.9988428042042548E-2"/>
              <c:y val="0.2245080149018783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s-E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8189943741209562"/>
          <c:y val="0"/>
          <c:w val="0.50776223628691985"/>
          <c:h val="0.119398767940569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600608467161335"/>
          <c:y val="0.14268807518337603"/>
          <c:w val="0.80198148148148152"/>
          <c:h val="0.707266876521634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1166666666666667E-2"/>
                  <c:y val="1.411111111111111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26-4020-A1ED-8779D06ED356}"/>
                </c:ext>
              </c:extLst>
            </c:dLbl>
            <c:dLbl>
              <c:idx val="1"/>
              <c:layout>
                <c:manualLayout>
                  <c:x val="-2.3518518518518518E-2"/>
                  <c:y val="-1.2935035758548312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C26-4020-A1ED-8779D06ED356}"/>
                </c:ext>
              </c:extLst>
            </c:dLbl>
            <c:dLbl>
              <c:idx val="2"/>
              <c:layout>
                <c:manualLayout>
                  <c:x val="-2.58703703703703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C26-4020-A1ED-8779D06ED356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85170000000000001</c:v>
                </c:pt>
                <c:pt idx="1">
                  <c:v>7.5899999999999995E-2</c:v>
                </c:pt>
                <c:pt idx="2">
                  <c:v>7.24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C26-4020-A1ED-8779D06ED35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5277777777777776E-2"/>
                  <c:y val="7.055555555555555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C26-4020-A1ED-8779D06ED356}"/>
                </c:ext>
              </c:extLst>
            </c:dLbl>
            <c:dLbl>
              <c:idx val="1"/>
              <c:layout>
                <c:manualLayout>
                  <c:x val="9.407407407407321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C26-4020-A1ED-8779D06ED356}"/>
                </c:ext>
              </c:extLst>
            </c:dLbl>
            <c:dLbl>
              <c:idx val="2"/>
              <c:layout>
                <c:manualLayout>
                  <c:x val="1.4111111111111067E-2"/>
                  <c:y val="-3.527777777777777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C26-4020-A1ED-8779D06ED356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8</c:v>
                </c:pt>
                <c:pt idx="1">
                  <c:v>0.1172</c:v>
                </c:pt>
                <c:pt idx="2">
                  <c:v>8.27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C26-4020-A1ED-8779D06ED35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724388539874742"/>
          <c:y val="5.4059479883761342E-2"/>
          <c:w val="0.35394121184021604"/>
          <c:h val="0.120390555555555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0" i="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06191520467836"/>
          <c:y val="2.587037037037037E-2"/>
          <c:w val="0.62179311342592591"/>
          <c:h val="0.7444544444444444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ch/Somewhat Likely</c:v>
                </c:pt>
              </c:strCache>
            </c:strRef>
          </c:tx>
          <c:spPr>
            <a:solidFill>
              <a:srgbClr val="002855"/>
            </a:solidFill>
            <a:ln>
              <a:solidFill>
                <a:srgbClr val="002855"/>
              </a:solidFill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87319999999999998</c:v>
                </c:pt>
                <c:pt idx="1">
                  <c:v>0.873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93-4B2A-9EB7-9342D86593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ame</c:v>
                </c:pt>
              </c:strCache>
            </c:strRef>
          </c:tx>
          <c:spPr>
            <a:solidFill>
              <a:srgbClr val="00F0BE"/>
            </a:solidFill>
            <a:ln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2.7850877192982454E-3"/>
                  <c:y val="-0.1711496149614961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793-4B2A-9EB7-9342D8659308}"/>
                </c:ext>
              </c:extLst>
            </c:dLbl>
            <c:dLbl>
              <c:idx val="1"/>
              <c:layout>
                <c:manualLayout>
                  <c:x val="-8.189406132640192E-3"/>
                  <c:y val="-0.1599259259259259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793-4B2A-9EB7-9342D86593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6.83E-2</c:v>
                </c:pt>
                <c:pt idx="1">
                  <c:v>6.8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793-4B2A-9EB7-9342D86593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uch/Somewhat Unlikely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5.2365017361111113E-2"/>
                  <c:y val="-6.403483048786293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793-4B2A-9EB7-9342D8659308}"/>
                </c:ext>
              </c:extLst>
            </c:dLbl>
            <c:dLbl>
              <c:idx val="1"/>
              <c:layout>
                <c:manualLayout>
                  <c:x val="5.4176071339003123E-2"/>
                  <c:y val="-9.407407407407407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793-4B2A-9EB7-9342D86593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D$2:$D$3</c:f>
              <c:numCache>
                <c:formatCode>0.00%</c:formatCode>
                <c:ptCount val="2"/>
                <c:pt idx="0">
                  <c:v>5.8500000000000003E-2</c:v>
                </c:pt>
                <c:pt idx="1">
                  <c:v>5.85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793-4B2A-9EB7-9342D865930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73749983"/>
        <c:axId val="840305951"/>
      </c:barChart>
      <c:catAx>
        <c:axId val="97374998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40305951"/>
        <c:crosses val="autoZero"/>
        <c:auto val="1"/>
        <c:lblAlgn val="ctr"/>
        <c:lblOffset val="100"/>
        <c:noMultiLvlLbl val="0"/>
      </c:catAx>
      <c:valAx>
        <c:axId val="840305951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73749983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0847417473100225"/>
          <c:y val="7.8018949329647078E-2"/>
          <c:w val="0.1410143761071278"/>
          <c:h val="0.80936085692261894"/>
        </c:manualLayout>
      </c:layout>
      <c:overlay val="0"/>
      <c:spPr>
        <a:noFill/>
        <a:ln w="3175">
          <a:solidFill>
            <a:srgbClr val="002855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600608467161337"/>
          <c:y val="0.15174236204956257"/>
          <c:w val="0.80198148148148152"/>
          <c:h val="0.707266876521634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1166666666666667E-2"/>
                  <c:y val="1.411111111111111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8FC-4F00-82B0-D66792014C25}"/>
                </c:ext>
              </c:extLst>
            </c:dLbl>
            <c:dLbl>
              <c:idx val="1"/>
              <c:layout>
                <c:manualLayout>
                  <c:x val="-2.3518518518518518E-2"/>
                  <c:y val="-1.2935035758548312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8FC-4F00-82B0-D66792014C25}"/>
                </c:ext>
              </c:extLst>
            </c:dLbl>
            <c:dLbl>
              <c:idx val="2"/>
              <c:layout>
                <c:manualLayout>
                  <c:x val="-2.58703703703703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8FC-4F00-82B0-D66792014C25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77339999999999998</c:v>
                </c:pt>
                <c:pt idx="1">
                  <c:v>7.5499999999999998E-2</c:v>
                </c:pt>
                <c:pt idx="2">
                  <c:v>0.151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8FC-4F00-82B0-D66792014C2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5277777777777776E-2"/>
                  <c:y val="7.055555555555555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8FC-4F00-82B0-D66792014C25}"/>
                </c:ext>
              </c:extLst>
            </c:dLbl>
            <c:dLbl>
              <c:idx val="1"/>
              <c:layout>
                <c:manualLayout>
                  <c:x val="9.407407407407321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8FC-4F00-82B0-D66792014C25}"/>
                </c:ext>
              </c:extLst>
            </c:dLbl>
            <c:dLbl>
              <c:idx val="2"/>
              <c:layout>
                <c:manualLayout>
                  <c:x val="1.4111111111111067E-2"/>
                  <c:y val="-3.527777777777777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8FC-4F00-82B0-D66792014C25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C$2:$C$4</c:f>
              <c:numCache>
                <c:formatCode>0.00%</c:formatCode>
                <c:ptCount val="3"/>
                <c:pt idx="0">
                  <c:v>0.78420000000000001</c:v>
                </c:pt>
                <c:pt idx="1">
                  <c:v>0.12230000000000001</c:v>
                </c:pt>
                <c:pt idx="2">
                  <c:v>9.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8FC-4F00-82B0-D66792014C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200358202711359"/>
          <c:y val="5.3974564320794283E-2"/>
          <c:w val="0.36914332030381863"/>
          <c:h val="0.120390555555555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0" i="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201057347670252"/>
          <c:y val="0.12590333333333334"/>
          <c:w val="0.82001577060931896"/>
          <c:h val="0.730230833333333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*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1044771041936163E-2"/>
                  <c:y val="1.4335040369505418E-2"/>
                </c:manualLayout>
              </c:layout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9BC-475C-A2B3-2E33379D5F51}"/>
                </c:ext>
              </c:extLst>
            </c:dLbl>
            <c:dLbl>
              <c:idx val="1"/>
              <c:layout>
                <c:manualLayout>
                  <c:x val="-2.6354532808915161E-2"/>
                  <c:y val="3.219768798602112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9BC-475C-A2B3-2E33379D5F51}"/>
                </c:ext>
              </c:extLst>
            </c:dLbl>
            <c:dLbl>
              <c:idx val="2"/>
              <c:layout>
                <c:manualLayout>
                  <c:x val="-3.9489247311827961E-3"/>
                  <c:y val="1.2541944444444413E-2"/>
                </c:manualLayout>
              </c:layout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9BC-475C-A2B3-2E33379D5F51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ffectiveness</c:v>
                </c:pt>
                <c:pt idx="1">
                  <c:v>Convenience of use</c:v>
                </c:pt>
                <c:pt idx="2">
                  <c:v>Global Satisfaction</c:v>
                </c:pt>
              </c:strCache>
            </c:strRef>
          </c:cat>
          <c:val>
            <c:numRef>
              <c:f>Sheet1!$B$2:$B$4</c:f>
              <c:numCache>
                <c:formatCode>0.00</c:formatCode>
                <c:ptCount val="3"/>
                <c:pt idx="0">
                  <c:v>76.42</c:v>
                </c:pt>
                <c:pt idx="1">
                  <c:v>85.29</c:v>
                </c:pt>
                <c:pt idx="2">
                  <c:v>78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9BC-475C-A2B3-2E33379D5F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0749345800750833E-3"/>
                  <c:y val="2.150256055425812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9BC-475C-A2B3-2E33379D5F51}"/>
                </c:ext>
              </c:extLst>
            </c:dLbl>
            <c:dLbl>
              <c:idx val="1"/>
              <c:layout>
                <c:manualLayout>
                  <c:x val="1.961491440474037E-2"/>
                  <c:y val="3.054498734444010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9BC-475C-A2B3-2E33379D5F51}"/>
                </c:ext>
              </c:extLst>
            </c:dLbl>
            <c:dLbl>
              <c:idx val="2"/>
              <c:layout>
                <c:manualLayout>
                  <c:x val="1.001415770609319E-2"/>
                  <c:y val="7.576944444444444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9BC-475C-A2B3-2E33379D5F51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ffectiveness</c:v>
                </c:pt>
                <c:pt idx="1">
                  <c:v>Convenience of use</c:v>
                </c:pt>
                <c:pt idx="2">
                  <c:v>Global Satisfaction</c:v>
                </c:pt>
              </c:strCache>
            </c:strRef>
          </c:cat>
          <c:val>
            <c:numRef>
              <c:f>Sheet1!$C$2:$C$4</c:f>
              <c:numCache>
                <c:formatCode>0.00</c:formatCode>
                <c:ptCount val="3"/>
                <c:pt idx="0">
                  <c:v>73.03</c:v>
                </c:pt>
                <c:pt idx="1">
                  <c:v>85.8</c:v>
                </c:pt>
                <c:pt idx="2">
                  <c:v>74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9BC-475C-A2B3-2E33379D5F5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6845913490555996"/>
          <c:y val="1.9012683325771343E-2"/>
          <c:w val="0.48083661461310695"/>
          <c:h val="6.40891666666666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495126348807311"/>
          <c:y val="0.11836959626377673"/>
          <c:w val="0.82001577060931896"/>
          <c:h val="0.730230833333333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*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7052535550817491E-2"/>
                  <c:y val="2.2497094863340446E-2"/>
                </c:manualLayout>
              </c:layout>
              <c:tx>
                <c:rich>
                  <a:bodyPr/>
                  <a:lstStyle/>
                  <a:p>
                    <a:fld id="{66601C00-2E24-4CC2-B2C5-9CDFB6BF807E}" type="VALUE">
                      <a:rPr lang="en-US" smtClean="0"/>
                      <a:pPr/>
                      <a:t>[VALOR]</a:t>
                    </a:fld>
                    <a:endParaRPr lang="es-E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821D-45C0-A645-973B8A18EDD3}"/>
                </c:ext>
              </c:extLst>
            </c:dLbl>
            <c:dLbl>
              <c:idx val="1"/>
              <c:layout>
                <c:manualLayout>
                  <c:x val="-1.3641193165920428E-2"/>
                  <c:y val="2.2497094863340481E-2"/>
                </c:manualLayout>
              </c:layout>
              <c:tx>
                <c:rich>
                  <a:bodyPr/>
                  <a:lstStyle/>
                  <a:p>
                    <a:fld id="{8AA64D9D-8402-46E7-93FC-3724ACCC7094}" type="VALUE">
                      <a:rPr lang="en-US" smtClean="0"/>
                      <a:pPr/>
                      <a:t>[VALOR]</a:t>
                    </a:fld>
                    <a:endParaRPr lang="es-E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21D-45C0-A645-973B8A18EDD3}"/>
                </c:ext>
              </c:extLst>
            </c:dLbl>
            <c:dLbl>
              <c:idx val="2"/>
              <c:layout>
                <c:manualLayout>
                  <c:x val="-1.5760177000124314E-2"/>
                  <c:y val="1.4998063242226987E-2"/>
                </c:manualLayout>
              </c:layout>
              <c:tx>
                <c:rich>
                  <a:bodyPr/>
                  <a:lstStyle/>
                  <a:p>
                    <a:fld id="{3F46E38F-B978-41E0-B67B-3FFD8DF11B0D}" type="VALUE">
                      <a:rPr lang="en-US" smtClean="0"/>
                      <a:pPr/>
                      <a:t>[VALOR]</a:t>
                    </a:fld>
                    <a:endParaRPr lang="es-E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821D-45C0-A645-973B8A18EDD3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ffectiveness</c:v>
                </c:pt>
                <c:pt idx="1">
                  <c:v>Convenience of use</c:v>
                </c:pt>
                <c:pt idx="2">
                  <c:v>Global Satisfaction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74.34</c:v>
                </c:pt>
                <c:pt idx="1">
                  <c:v>84.48</c:v>
                </c:pt>
                <c:pt idx="2">
                  <c:v>74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1D-45C0-A645-973B8A18ED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4786315766149051E-3"/>
                  <c:y val="1.4963225221310003E-2"/>
                </c:manualLayout>
              </c:layout>
              <c:tx>
                <c:rich>
                  <a:bodyPr/>
                  <a:lstStyle/>
                  <a:p>
                    <a:fld id="{D1D5E603-E8E1-48EF-9519-7ADEA9513097}" type="VALUE">
                      <a:rPr lang="en-US" smtClean="0"/>
                      <a:pPr/>
                      <a:t>[VALOR]</a:t>
                    </a:fld>
                    <a:endParaRPr lang="es-E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821D-45C0-A645-973B8A18EDD3}"/>
                </c:ext>
              </c:extLst>
            </c:dLbl>
            <c:dLbl>
              <c:idx val="1"/>
              <c:layout>
                <c:manualLayout>
                  <c:x val="3.1439230195181621E-3"/>
                  <c:y val="2.7519674624694134E-2"/>
                </c:manualLayout>
              </c:layout>
              <c:tx>
                <c:rich>
                  <a:bodyPr/>
                  <a:lstStyle/>
                  <a:p>
                    <a:fld id="{E2A67EB4-03D8-4A1B-886C-BE524801F953}" type="VALUE">
                      <a:rPr lang="en-US" smtClean="0"/>
                      <a:pPr/>
                      <a:t>[VALOR]</a:t>
                    </a:fld>
                    <a:endParaRPr lang="es-E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821D-45C0-A645-973B8A18EDD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734FC1F-F072-487E-8C84-8625E7DA0D36}" type="VALUE">
                      <a:rPr lang="en-US" smtClean="0"/>
                      <a:pPr/>
                      <a:t>[VALOR]</a:t>
                    </a:fld>
                    <a:endParaRPr lang="es-E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821D-45C0-A645-973B8A18ED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ffectiveness</c:v>
                </c:pt>
                <c:pt idx="1">
                  <c:v>Convenience of use</c:v>
                </c:pt>
                <c:pt idx="2">
                  <c:v>Global Satisfaction</c:v>
                </c:pt>
              </c:strCache>
            </c:strRef>
          </c:cat>
          <c:val>
            <c:numRef>
              <c:f>Sheet1!$C$2:$C$4</c:f>
              <c:numCache>
                <c:formatCode>0.0</c:formatCode>
                <c:ptCount val="3"/>
                <c:pt idx="0">
                  <c:v>73.349999999999994</c:v>
                </c:pt>
                <c:pt idx="1">
                  <c:v>84.96</c:v>
                </c:pt>
                <c:pt idx="2">
                  <c:v>71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21D-45C0-A645-973B8A18EDD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66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984448097295065"/>
          <c:y val="1.026504819681694E-2"/>
          <c:w val="0.55700583611528021"/>
          <c:h val="6.40891666666666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320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625491477317381"/>
          <c:y val="0.15686109545697755"/>
          <c:w val="0.80421137959451305"/>
          <c:h val="0.70549744978584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BO (N=206)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Week 16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EF-4638-932E-2A95A52A8C5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64883456"/>
        <c:axId val="164897536"/>
        <c:extLst>
          <c:ext xmlns:c15="http://schemas.microsoft.com/office/drawing/2012/chart" uri="{02D57815-91ED-43cb-92C2-25804820EDAC}">
            <c15:filteredBarSeries>
              <c15:ser>
                <c:idx val="4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$G$1</c15:sqref>
                        </c15:formulaRef>
                      </c:ext>
                    </c:extLst>
                    <c:strCache>
                      <c:ptCount val="1"/>
                      <c:pt idx="0">
                        <c:v>Column2</c:v>
                      </c:pt>
                    </c:strCache>
                  </c:strRef>
                </c:tx>
                <c:invertIfNegative val="0"/>
                <c:dLbls>
                  <c:delete val="1"/>
                </c:dLbls>
                <c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Week 16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G$2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21EF-4638-932E-2A95A52A8C59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PBO (N=145)</c:v>
                      </c:pt>
                    </c:strCache>
                  </c:strRef>
                </c:tx>
                <c:spPr>
                  <a:solidFill>
                    <a:srgbClr val="A59D95"/>
                  </a:solidFill>
                </c:spPr>
                <c:invertIfNegative val="0"/>
                <c:dLbls>
                  <c:dLbl>
                    <c:idx val="0"/>
                    <c:layout>
                      <c:manualLayout>
                        <c:x val="0"/>
                        <c:y val="5.6532937335687242E-3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2-21EF-4638-932E-2A95A52A8C59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sz="1400" b="1"/>
                      </a:pPr>
                      <a:endParaRPr lang="es-E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>
                            <a:noFill/>
                          </a:ln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Week 16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2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0.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21EF-4638-932E-2A95A52A8C59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1</c15:sqref>
                        </c15:formulaRef>
                      </c:ext>
                    </c:extLst>
                    <c:strCache>
                      <c:ptCount val="1"/>
                      <c:pt idx="0">
                        <c:v>LEBRI 250 mg Q2W (N=277)</c:v>
                      </c:pt>
                    </c:strCache>
                  </c:strRef>
                </c:tx>
                <c:invertIfNegative val="0"/>
                <c:dLbls>
                  <c:dLbl>
                    <c:idx val="0"/>
                    <c:layout>
                      <c:manualLayout>
                        <c:x val="2.8517473127332841E-3"/>
                        <c:y val="5.6532937335687242E-3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4-21EF-4638-932E-2A95A52A8C59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sz="1400" b="1"/>
                      </a:pPr>
                      <a:endParaRPr lang="es-E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>
                            <a:noFill/>
                          </a:ln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Week 16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2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0.0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21EF-4638-932E-2A95A52A8C59}"/>
                  </c:ext>
                </c:extLst>
              </c15:ser>
            </c15:filteredBarSeries>
          </c:ext>
        </c:extLst>
      </c:barChart>
      <c:catAx>
        <c:axId val="1648834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12700"/>
        </c:spPr>
        <c:txPr>
          <a:bodyPr rot="0" vert="horz"/>
          <a:lstStyle/>
          <a:p>
            <a:pPr>
              <a:defRPr sz="1600" b="1">
                <a:noFill/>
              </a:defRPr>
            </a:pPr>
            <a:endParaRPr lang="es-ES"/>
          </a:p>
        </c:txPr>
        <c:crossAx val="164897536"/>
        <c:crosses val="autoZero"/>
        <c:auto val="1"/>
        <c:lblAlgn val="ctr"/>
        <c:lblOffset val="100"/>
        <c:noMultiLvlLbl val="0"/>
      </c:catAx>
      <c:valAx>
        <c:axId val="164897536"/>
        <c:scaling>
          <c:orientation val="minMax"/>
          <c:max val="3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50" baseline="0"/>
            </a:pPr>
            <a:endParaRPr lang="es-ES"/>
          </a:p>
        </c:txPr>
        <c:crossAx val="164883456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600608467161335"/>
          <c:y val="0.14268807518337603"/>
          <c:w val="0.80198148148148152"/>
          <c:h val="0.707266876521634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1166666666666667E-2"/>
                  <c:y val="1.411111111111111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96F-4C7E-8DFA-02AFAF5DA5B3}"/>
                </c:ext>
              </c:extLst>
            </c:dLbl>
            <c:dLbl>
              <c:idx val="1"/>
              <c:layout>
                <c:manualLayout>
                  <c:x val="-2.3518518518518518E-2"/>
                  <c:y val="-1.2935035758548312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96F-4C7E-8DFA-02AFAF5DA5B3}"/>
                </c:ext>
              </c:extLst>
            </c:dLbl>
            <c:dLbl>
              <c:idx val="2"/>
              <c:layout>
                <c:manualLayout>
                  <c:x val="-2.58703703703703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96F-4C7E-8DFA-02AFAF5DA5B3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85170000000000001</c:v>
                </c:pt>
                <c:pt idx="1">
                  <c:v>7.5899999999999995E-2</c:v>
                </c:pt>
                <c:pt idx="2">
                  <c:v>7.24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96F-4C7E-8DFA-02AFAF5DA5B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5277777777777776E-2"/>
                  <c:y val="7.055555555555555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96F-4C7E-8DFA-02AFAF5DA5B3}"/>
                </c:ext>
              </c:extLst>
            </c:dLbl>
            <c:dLbl>
              <c:idx val="1"/>
              <c:layout>
                <c:manualLayout>
                  <c:x val="9.407407407407321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96F-4C7E-8DFA-02AFAF5DA5B3}"/>
                </c:ext>
              </c:extLst>
            </c:dLbl>
            <c:dLbl>
              <c:idx val="2"/>
              <c:layout>
                <c:manualLayout>
                  <c:x val="1.4111111111111067E-2"/>
                  <c:y val="-3.527777777777777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96F-4C7E-8DFA-02AFAF5DA5B3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8</c:v>
                </c:pt>
                <c:pt idx="1">
                  <c:v>0.1172</c:v>
                </c:pt>
                <c:pt idx="2">
                  <c:v>8.27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96F-4C7E-8DFA-02AFAF5DA5B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7963499264247209"/>
          <c:y val="5.4059479883761342E-2"/>
          <c:w val="0.40155032908942595"/>
          <c:h val="0.120390555555555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0" i="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2CF57C7-3876-4DE3-AF7B-5F1F4074BFC0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039B449-87AA-47DC-8BC7-85EBC11B89A0}">
      <dgm:prSet phldrT="[Texto]" custT="1"/>
      <dgm:spPr>
        <a:xfrm>
          <a:off x="4721" y="0"/>
          <a:ext cx="4128442" cy="367963"/>
        </a:xfrm>
        <a:prstGeom prst="homePlate">
          <a:avLst/>
        </a:prstGeom>
        <a:solidFill>
          <a:srgbClr val="00285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ES_tradnl" sz="1100" b="1">
              <a:solidFill>
                <a:srgbClr val="FFFFFF"/>
              </a:solidFill>
              <a:latin typeface="Arial"/>
              <a:ea typeface="+mn-ea"/>
              <a:cs typeface="+mn-cs"/>
            </a:rPr>
            <a:t>Basal</a:t>
          </a:r>
          <a:endParaRPr lang="es-ES" sz="1100" b="1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417BEDAD-2274-491B-AD85-E88FA3B9701D}" type="par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25D3152E-F632-4243-87F1-47DB2009C4DD}" type="sib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53C33AF0-343B-4A9A-8567-7777BE6AB3C4}">
      <dgm:prSet phldrT="[Texto]" custT="1"/>
      <dgm:spPr>
        <a:xfrm>
          <a:off x="3307475" y="0"/>
          <a:ext cx="4128442" cy="367963"/>
        </a:xfrm>
        <a:prstGeom prst="chevron">
          <a:avLst/>
        </a:prstGeom>
        <a:solidFill>
          <a:srgbClr val="00285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ES_tradnl" sz="1100" b="1">
              <a:solidFill>
                <a:srgbClr val="FFFFFF"/>
              </a:solidFill>
              <a:latin typeface="Arial"/>
              <a:ea typeface="+mn-ea"/>
              <a:cs typeface="+mn-cs"/>
            </a:rPr>
            <a:t>Día X</a:t>
          </a:r>
          <a:endParaRPr lang="es-ES" sz="1100" b="1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191F00C5-A6CD-40C6-A1A6-732D9ED55F65}" type="par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53487150-9DDB-422F-850B-99D59C013442}" type="sib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7F7975D2-EE25-42D6-9047-DF7C1685F886}">
      <dgm:prSet phldrT="[Texto]" custT="1"/>
      <dgm:spPr>
        <a:xfrm>
          <a:off x="6610229" y="0"/>
          <a:ext cx="4128442" cy="367963"/>
        </a:xfrm>
        <a:prstGeom prst="chevron">
          <a:avLst/>
        </a:prstGeom>
        <a:solidFill>
          <a:srgbClr val="00285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ES_tradnl" sz="1100" b="1">
              <a:solidFill>
                <a:srgbClr val="FFFFFF"/>
              </a:solidFill>
              <a:latin typeface="Arial"/>
              <a:ea typeface="+mn-ea"/>
              <a:cs typeface="+mn-cs"/>
            </a:rPr>
            <a:t>Día 57</a:t>
          </a:r>
          <a:endParaRPr lang="es-ES" sz="1100" b="1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E4633B45-4CE3-4C46-85DD-6F5B957A8F8F}" type="par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1900D557-B139-4DCB-9E6E-ED4E2172398A}" type="sib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81676447-0DE1-4C8C-BFD8-91BECD5320F5}" type="pres">
      <dgm:prSet presAssocID="{62CF57C7-3876-4DE3-AF7B-5F1F4074BFC0}" presName="Name0" presStyleCnt="0">
        <dgm:presLayoutVars>
          <dgm:dir/>
          <dgm:resizeHandles val="exact"/>
        </dgm:presLayoutVars>
      </dgm:prSet>
      <dgm:spPr/>
    </dgm:pt>
    <dgm:pt modelId="{A7EC9D6A-317A-4D26-BCD2-D5AD40418DD9}" type="pres">
      <dgm:prSet presAssocID="{F039B449-87AA-47DC-8BC7-85EBC11B89A0}" presName="parTxOnly" presStyleLbl="node1" presStyleIdx="0" presStyleCnt="3">
        <dgm:presLayoutVars>
          <dgm:bulletEnabled val="1"/>
        </dgm:presLayoutVars>
      </dgm:prSet>
      <dgm:spPr/>
    </dgm:pt>
    <dgm:pt modelId="{0BAC24AB-DFF5-4C60-8265-3D7EF4D511F3}" type="pres">
      <dgm:prSet presAssocID="{25D3152E-F632-4243-87F1-47DB2009C4DD}" presName="parSpace" presStyleCnt="0"/>
      <dgm:spPr/>
    </dgm:pt>
    <dgm:pt modelId="{71FD6E41-81A0-4873-BC7C-B9B53096EC44}" type="pres">
      <dgm:prSet presAssocID="{53C33AF0-343B-4A9A-8567-7777BE6AB3C4}" presName="parTxOnly" presStyleLbl="node1" presStyleIdx="1" presStyleCnt="3">
        <dgm:presLayoutVars>
          <dgm:bulletEnabled val="1"/>
        </dgm:presLayoutVars>
      </dgm:prSet>
      <dgm:spPr/>
    </dgm:pt>
    <dgm:pt modelId="{030AAB40-752E-4D40-B806-A5900534FA61}" type="pres">
      <dgm:prSet presAssocID="{53487150-9DDB-422F-850B-99D59C013442}" presName="parSpace" presStyleCnt="0"/>
      <dgm:spPr/>
    </dgm:pt>
    <dgm:pt modelId="{2E8FFF6F-7811-4457-8ED1-C8005E9D1D61}" type="pres">
      <dgm:prSet presAssocID="{7F7975D2-EE25-42D6-9047-DF7C1685F886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67A1BB25-AA42-4C42-98D5-59AB4643B6E9}" type="presOf" srcId="{F039B449-87AA-47DC-8BC7-85EBC11B89A0}" destId="{A7EC9D6A-317A-4D26-BCD2-D5AD40418DD9}" srcOrd="0" destOrd="0" presId="urn:microsoft.com/office/officeart/2005/8/layout/hChevron3"/>
    <dgm:cxn modelId="{E4982884-2C8A-47D0-8008-BDDA4E30AC3F}" srcId="{62CF57C7-3876-4DE3-AF7B-5F1F4074BFC0}" destId="{F039B449-87AA-47DC-8BC7-85EBC11B89A0}" srcOrd="0" destOrd="0" parTransId="{417BEDAD-2274-491B-AD85-E88FA3B9701D}" sibTransId="{25D3152E-F632-4243-87F1-47DB2009C4DD}"/>
    <dgm:cxn modelId="{31EAC987-202C-48A8-A9A4-EFAFB031021B}" srcId="{62CF57C7-3876-4DE3-AF7B-5F1F4074BFC0}" destId="{53C33AF0-343B-4A9A-8567-7777BE6AB3C4}" srcOrd="1" destOrd="0" parTransId="{191F00C5-A6CD-40C6-A1A6-732D9ED55F65}" sibTransId="{53487150-9DDB-422F-850B-99D59C013442}"/>
    <dgm:cxn modelId="{86DA178A-0413-4C48-9C5B-708ADB32D57B}" type="presOf" srcId="{62CF57C7-3876-4DE3-AF7B-5F1F4074BFC0}" destId="{81676447-0DE1-4C8C-BFD8-91BECD5320F5}" srcOrd="0" destOrd="0" presId="urn:microsoft.com/office/officeart/2005/8/layout/hChevron3"/>
    <dgm:cxn modelId="{DF035DB2-E227-4F6D-A8BE-AB28F5F54348}" type="presOf" srcId="{7F7975D2-EE25-42D6-9047-DF7C1685F886}" destId="{2E8FFF6F-7811-4457-8ED1-C8005E9D1D61}" srcOrd="0" destOrd="0" presId="urn:microsoft.com/office/officeart/2005/8/layout/hChevron3"/>
    <dgm:cxn modelId="{FBA99DD0-F3A0-4996-9A53-FFC41FEE9B6C}" srcId="{62CF57C7-3876-4DE3-AF7B-5F1F4074BFC0}" destId="{7F7975D2-EE25-42D6-9047-DF7C1685F886}" srcOrd="2" destOrd="0" parTransId="{E4633B45-4CE3-4C46-85DD-6F5B957A8F8F}" sibTransId="{1900D557-B139-4DCB-9E6E-ED4E2172398A}"/>
    <dgm:cxn modelId="{62D61EF7-E18B-448D-83DA-04DEF97C9B4F}" type="presOf" srcId="{53C33AF0-343B-4A9A-8567-7777BE6AB3C4}" destId="{71FD6E41-81A0-4873-BC7C-B9B53096EC44}" srcOrd="0" destOrd="0" presId="urn:microsoft.com/office/officeart/2005/8/layout/hChevron3"/>
    <dgm:cxn modelId="{E9044028-C7F2-4F3D-A398-4A32C492700B}" type="presParOf" srcId="{81676447-0DE1-4C8C-BFD8-91BECD5320F5}" destId="{A7EC9D6A-317A-4D26-BCD2-D5AD40418DD9}" srcOrd="0" destOrd="0" presId="urn:microsoft.com/office/officeart/2005/8/layout/hChevron3"/>
    <dgm:cxn modelId="{4AFC8C67-3C4E-42ED-8402-9A5D8235F258}" type="presParOf" srcId="{81676447-0DE1-4C8C-BFD8-91BECD5320F5}" destId="{0BAC24AB-DFF5-4C60-8265-3D7EF4D511F3}" srcOrd="1" destOrd="0" presId="urn:microsoft.com/office/officeart/2005/8/layout/hChevron3"/>
    <dgm:cxn modelId="{D4A6E682-F1FE-4982-BAB6-DFC7D92DE74F}" type="presParOf" srcId="{81676447-0DE1-4C8C-BFD8-91BECD5320F5}" destId="{71FD6E41-81A0-4873-BC7C-B9B53096EC44}" srcOrd="2" destOrd="0" presId="urn:microsoft.com/office/officeart/2005/8/layout/hChevron3"/>
    <dgm:cxn modelId="{C70AEDF9-FEFE-4C78-AD2D-2503858E447E}" type="presParOf" srcId="{81676447-0DE1-4C8C-BFD8-91BECD5320F5}" destId="{030AAB40-752E-4D40-B806-A5900534FA61}" srcOrd="3" destOrd="0" presId="urn:microsoft.com/office/officeart/2005/8/layout/hChevron3"/>
    <dgm:cxn modelId="{948C0E45-8F57-4F99-8653-9139D06F8EE7}" type="presParOf" srcId="{81676447-0DE1-4C8C-BFD8-91BECD5320F5}" destId="{2E8FFF6F-7811-4457-8ED1-C8005E9D1D61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2CF57C7-3876-4DE3-AF7B-5F1F4074BFC0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039B449-87AA-47DC-8BC7-85EBC11B89A0}">
      <dgm:prSet phldrT="[Texto]" custT="1"/>
      <dgm:spPr>
        <a:xfrm>
          <a:off x="4721" y="0"/>
          <a:ext cx="4128442" cy="367963"/>
        </a:xfrm>
        <a:prstGeom prst="homePlate">
          <a:avLst/>
        </a:prstGeom>
        <a:solidFill>
          <a:srgbClr val="00285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ES_tradnl" sz="1100" b="1">
              <a:solidFill>
                <a:srgbClr val="FFFFFF"/>
              </a:solidFill>
              <a:latin typeface="Arial"/>
              <a:ea typeface="+mn-ea"/>
              <a:cs typeface="+mn-cs"/>
            </a:rPr>
            <a:t>Basal</a:t>
          </a:r>
          <a:endParaRPr lang="es-ES" sz="1100" b="1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417BEDAD-2274-491B-AD85-E88FA3B9701D}" type="par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25D3152E-F632-4243-87F1-47DB2009C4DD}" type="sib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53C33AF0-343B-4A9A-8567-7777BE6AB3C4}">
      <dgm:prSet phldrT="[Texto]" custT="1"/>
      <dgm:spPr>
        <a:xfrm>
          <a:off x="3307475" y="0"/>
          <a:ext cx="4128442" cy="367963"/>
        </a:xfrm>
        <a:prstGeom prst="chevron">
          <a:avLst/>
        </a:prstGeom>
        <a:solidFill>
          <a:srgbClr val="00285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ES_tradnl" sz="1100" b="1">
              <a:solidFill>
                <a:srgbClr val="FFFFFF"/>
              </a:solidFill>
              <a:latin typeface="Arial"/>
              <a:ea typeface="+mn-ea"/>
              <a:cs typeface="+mn-cs"/>
            </a:rPr>
            <a:t>Día X</a:t>
          </a:r>
          <a:endParaRPr lang="es-ES" sz="1100" b="1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191F00C5-A6CD-40C6-A1A6-732D9ED55F65}" type="par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53487150-9DDB-422F-850B-99D59C013442}" type="sib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7F7975D2-EE25-42D6-9047-DF7C1685F886}">
      <dgm:prSet phldrT="[Texto]" custT="1"/>
      <dgm:spPr>
        <a:xfrm>
          <a:off x="6610229" y="0"/>
          <a:ext cx="4128442" cy="367963"/>
        </a:xfrm>
        <a:prstGeom prst="chevron">
          <a:avLst/>
        </a:prstGeom>
        <a:solidFill>
          <a:srgbClr val="00285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ES_tradnl" sz="1100" b="1">
              <a:solidFill>
                <a:srgbClr val="FFFFFF"/>
              </a:solidFill>
              <a:latin typeface="Arial"/>
              <a:ea typeface="+mn-ea"/>
              <a:cs typeface="+mn-cs"/>
            </a:rPr>
            <a:t>Día 57</a:t>
          </a:r>
          <a:endParaRPr lang="es-ES" sz="1100" b="1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E4633B45-4CE3-4C46-85DD-6F5B957A8F8F}" type="par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1900D557-B139-4DCB-9E6E-ED4E2172398A}" type="sib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81676447-0DE1-4C8C-BFD8-91BECD5320F5}" type="pres">
      <dgm:prSet presAssocID="{62CF57C7-3876-4DE3-AF7B-5F1F4074BFC0}" presName="Name0" presStyleCnt="0">
        <dgm:presLayoutVars>
          <dgm:dir/>
          <dgm:resizeHandles val="exact"/>
        </dgm:presLayoutVars>
      </dgm:prSet>
      <dgm:spPr/>
    </dgm:pt>
    <dgm:pt modelId="{A7EC9D6A-317A-4D26-BCD2-D5AD40418DD9}" type="pres">
      <dgm:prSet presAssocID="{F039B449-87AA-47DC-8BC7-85EBC11B89A0}" presName="parTxOnly" presStyleLbl="node1" presStyleIdx="0" presStyleCnt="3">
        <dgm:presLayoutVars>
          <dgm:bulletEnabled val="1"/>
        </dgm:presLayoutVars>
      </dgm:prSet>
      <dgm:spPr/>
    </dgm:pt>
    <dgm:pt modelId="{0BAC24AB-DFF5-4C60-8265-3D7EF4D511F3}" type="pres">
      <dgm:prSet presAssocID="{25D3152E-F632-4243-87F1-47DB2009C4DD}" presName="parSpace" presStyleCnt="0"/>
      <dgm:spPr/>
    </dgm:pt>
    <dgm:pt modelId="{71FD6E41-81A0-4873-BC7C-B9B53096EC44}" type="pres">
      <dgm:prSet presAssocID="{53C33AF0-343B-4A9A-8567-7777BE6AB3C4}" presName="parTxOnly" presStyleLbl="node1" presStyleIdx="1" presStyleCnt="3">
        <dgm:presLayoutVars>
          <dgm:bulletEnabled val="1"/>
        </dgm:presLayoutVars>
      </dgm:prSet>
      <dgm:spPr/>
    </dgm:pt>
    <dgm:pt modelId="{030AAB40-752E-4D40-B806-A5900534FA61}" type="pres">
      <dgm:prSet presAssocID="{53487150-9DDB-422F-850B-99D59C013442}" presName="parSpace" presStyleCnt="0"/>
      <dgm:spPr/>
    </dgm:pt>
    <dgm:pt modelId="{2E8FFF6F-7811-4457-8ED1-C8005E9D1D61}" type="pres">
      <dgm:prSet presAssocID="{7F7975D2-EE25-42D6-9047-DF7C1685F886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67A1BB25-AA42-4C42-98D5-59AB4643B6E9}" type="presOf" srcId="{F039B449-87AA-47DC-8BC7-85EBC11B89A0}" destId="{A7EC9D6A-317A-4D26-BCD2-D5AD40418DD9}" srcOrd="0" destOrd="0" presId="urn:microsoft.com/office/officeart/2005/8/layout/hChevron3"/>
    <dgm:cxn modelId="{E4982884-2C8A-47D0-8008-BDDA4E30AC3F}" srcId="{62CF57C7-3876-4DE3-AF7B-5F1F4074BFC0}" destId="{F039B449-87AA-47DC-8BC7-85EBC11B89A0}" srcOrd="0" destOrd="0" parTransId="{417BEDAD-2274-491B-AD85-E88FA3B9701D}" sibTransId="{25D3152E-F632-4243-87F1-47DB2009C4DD}"/>
    <dgm:cxn modelId="{31EAC987-202C-48A8-A9A4-EFAFB031021B}" srcId="{62CF57C7-3876-4DE3-AF7B-5F1F4074BFC0}" destId="{53C33AF0-343B-4A9A-8567-7777BE6AB3C4}" srcOrd="1" destOrd="0" parTransId="{191F00C5-A6CD-40C6-A1A6-732D9ED55F65}" sibTransId="{53487150-9DDB-422F-850B-99D59C013442}"/>
    <dgm:cxn modelId="{86DA178A-0413-4C48-9C5B-708ADB32D57B}" type="presOf" srcId="{62CF57C7-3876-4DE3-AF7B-5F1F4074BFC0}" destId="{81676447-0DE1-4C8C-BFD8-91BECD5320F5}" srcOrd="0" destOrd="0" presId="urn:microsoft.com/office/officeart/2005/8/layout/hChevron3"/>
    <dgm:cxn modelId="{DF035DB2-E227-4F6D-A8BE-AB28F5F54348}" type="presOf" srcId="{7F7975D2-EE25-42D6-9047-DF7C1685F886}" destId="{2E8FFF6F-7811-4457-8ED1-C8005E9D1D61}" srcOrd="0" destOrd="0" presId="urn:microsoft.com/office/officeart/2005/8/layout/hChevron3"/>
    <dgm:cxn modelId="{FBA99DD0-F3A0-4996-9A53-FFC41FEE9B6C}" srcId="{62CF57C7-3876-4DE3-AF7B-5F1F4074BFC0}" destId="{7F7975D2-EE25-42D6-9047-DF7C1685F886}" srcOrd="2" destOrd="0" parTransId="{E4633B45-4CE3-4C46-85DD-6F5B957A8F8F}" sibTransId="{1900D557-B139-4DCB-9E6E-ED4E2172398A}"/>
    <dgm:cxn modelId="{62D61EF7-E18B-448D-83DA-04DEF97C9B4F}" type="presOf" srcId="{53C33AF0-343B-4A9A-8567-7777BE6AB3C4}" destId="{71FD6E41-81A0-4873-BC7C-B9B53096EC44}" srcOrd="0" destOrd="0" presId="urn:microsoft.com/office/officeart/2005/8/layout/hChevron3"/>
    <dgm:cxn modelId="{E9044028-C7F2-4F3D-A398-4A32C492700B}" type="presParOf" srcId="{81676447-0DE1-4C8C-BFD8-91BECD5320F5}" destId="{A7EC9D6A-317A-4D26-BCD2-D5AD40418DD9}" srcOrd="0" destOrd="0" presId="urn:microsoft.com/office/officeart/2005/8/layout/hChevron3"/>
    <dgm:cxn modelId="{4AFC8C67-3C4E-42ED-8402-9A5D8235F258}" type="presParOf" srcId="{81676447-0DE1-4C8C-BFD8-91BECD5320F5}" destId="{0BAC24AB-DFF5-4C60-8265-3D7EF4D511F3}" srcOrd="1" destOrd="0" presId="urn:microsoft.com/office/officeart/2005/8/layout/hChevron3"/>
    <dgm:cxn modelId="{D4A6E682-F1FE-4982-BAB6-DFC7D92DE74F}" type="presParOf" srcId="{81676447-0DE1-4C8C-BFD8-91BECD5320F5}" destId="{71FD6E41-81A0-4873-BC7C-B9B53096EC44}" srcOrd="2" destOrd="0" presId="urn:microsoft.com/office/officeart/2005/8/layout/hChevron3"/>
    <dgm:cxn modelId="{C70AEDF9-FEFE-4C78-AD2D-2503858E447E}" type="presParOf" srcId="{81676447-0DE1-4C8C-BFD8-91BECD5320F5}" destId="{030AAB40-752E-4D40-B806-A5900534FA61}" srcOrd="3" destOrd="0" presId="urn:microsoft.com/office/officeart/2005/8/layout/hChevron3"/>
    <dgm:cxn modelId="{948C0E45-8F57-4F99-8653-9139D06F8EE7}" type="presParOf" srcId="{81676447-0DE1-4C8C-BFD8-91BECD5320F5}" destId="{2E8FFF6F-7811-4457-8ED1-C8005E9D1D61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EC9D6A-317A-4D26-BCD2-D5AD40418DD9}">
      <dsp:nvSpPr>
        <dsp:cNvPr id="0" name=""/>
        <dsp:cNvSpPr/>
      </dsp:nvSpPr>
      <dsp:spPr>
        <a:xfrm>
          <a:off x="4721" y="0"/>
          <a:ext cx="4128442" cy="367963"/>
        </a:xfrm>
        <a:prstGeom prst="homePlate">
          <a:avLst/>
        </a:prstGeom>
        <a:solidFill>
          <a:srgbClr val="00285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>
              <a:solidFill>
                <a:srgbClr val="FFFFFF"/>
              </a:solidFill>
              <a:latin typeface="Arial"/>
              <a:ea typeface="+mn-ea"/>
              <a:cs typeface="+mn-cs"/>
            </a:rPr>
            <a:t>Basal</a:t>
          </a:r>
          <a:endParaRPr lang="es-ES" sz="1100" b="1" kern="120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4721" y="0"/>
        <a:ext cx="4036451" cy="367963"/>
      </dsp:txXfrm>
    </dsp:sp>
    <dsp:sp modelId="{71FD6E41-81A0-4873-BC7C-B9B53096EC44}">
      <dsp:nvSpPr>
        <dsp:cNvPr id="0" name=""/>
        <dsp:cNvSpPr/>
      </dsp:nvSpPr>
      <dsp:spPr>
        <a:xfrm>
          <a:off x="3307475" y="0"/>
          <a:ext cx="4128442" cy="367963"/>
        </a:xfrm>
        <a:prstGeom prst="chevron">
          <a:avLst/>
        </a:prstGeom>
        <a:solidFill>
          <a:srgbClr val="00285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>
              <a:solidFill>
                <a:srgbClr val="FFFFFF"/>
              </a:solidFill>
              <a:latin typeface="Arial"/>
              <a:ea typeface="+mn-ea"/>
              <a:cs typeface="+mn-cs"/>
            </a:rPr>
            <a:t>Día X</a:t>
          </a:r>
          <a:endParaRPr lang="es-ES" sz="1100" b="1" kern="120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3491457" y="0"/>
        <a:ext cx="3760479" cy="367963"/>
      </dsp:txXfrm>
    </dsp:sp>
    <dsp:sp modelId="{2E8FFF6F-7811-4457-8ED1-C8005E9D1D61}">
      <dsp:nvSpPr>
        <dsp:cNvPr id="0" name=""/>
        <dsp:cNvSpPr/>
      </dsp:nvSpPr>
      <dsp:spPr>
        <a:xfrm>
          <a:off x="6610229" y="0"/>
          <a:ext cx="4128442" cy="367963"/>
        </a:xfrm>
        <a:prstGeom prst="chevron">
          <a:avLst/>
        </a:prstGeom>
        <a:solidFill>
          <a:srgbClr val="00285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>
              <a:solidFill>
                <a:srgbClr val="FFFFFF"/>
              </a:solidFill>
              <a:latin typeface="Arial"/>
              <a:ea typeface="+mn-ea"/>
              <a:cs typeface="+mn-cs"/>
            </a:rPr>
            <a:t>Día 57</a:t>
          </a:r>
          <a:endParaRPr lang="es-ES" sz="1100" b="1" kern="120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6794211" y="0"/>
        <a:ext cx="3760479" cy="36796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EC9D6A-317A-4D26-BCD2-D5AD40418DD9}">
      <dsp:nvSpPr>
        <dsp:cNvPr id="0" name=""/>
        <dsp:cNvSpPr/>
      </dsp:nvSpPr>
      <dsp:spPr>
        <a:xfrm>
          <a:off x="4721" y="0"/>
          <a:ext cx="4128442" cy="367963"/>
        </a:xfrm>
        <a:prstGeom prst="homePlate">
          <a:avLst/>
        </a:prstGeom>
        <a:solidFill>
          <a:srgbClr val="00285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>
              <a:solidFill>
                <a:srgbClr val="FFFFFF"/>
              </a:solidFill>
              <a:latin typeface="Arial"/>
              <a:ea typeface="+mn-ea"/>
              <a:cs typeface="+mn-cs"/>
            </a:rPr>
            <a:t>Basal</a:t>
          </a:r>
          <a:endParaRPr lang="es-ES" sz="1100" b="1" kern="120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4721" y="0"/>
        <a:ext cx="4036451" cy="367963"/>
      </dsp:txXfrm>
    </dsp:sp>
    <dsp:sp modelId="{71FD6E41-81A0-4873-BC7C-B9B53096EC44}">
      <dsp:nvSpPr>
        <dsp:cNvPr id="0" name=""/>
        <dsp:cNvSpPr/>
      </dsp:nvSpPr>
      <dsp:spPr>
        <a:xfrm>
          <a:off x="3307475" y="0"/>
          <a:ext cx="4128442" cy="367963"/>
        </a:xfrm>
        <a:prstGeom prst="chevron">
          <a:avLst/>
        </a:prstGeom>
        <a:solidFill>
          <a:srgbClr val="00285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>
              <a:solidFill>
                <a:srgbClr val="FFFFFF"/>
              </a:solidFill>
              <a:latin typeface="Arial"/>
              <a:ea typeface="+mn-ea"/>
              <a:cs typeface="+mn-cs"/>
            </a:rPr>
            <a:t>Día X</a:t>
          </a:r>
          <a:endParaRPr lang="es-ES" sz="1100" b="1" kern="120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3491457" y="0"/>
        <a:ext cx="3760479" cy="367963"/>
      </dsp:txXfrm>
    </dsp:sp>
    <dsp:sp modelId="{2E8FFF6F-7811-4457-8ED1-C8005E9D1D61}">
      <dsp:nvSpPr>
        <dsp:cNvPr id="0" name=""/>
        <dsp:cNvSpPr/>
      </dsp:nvSpPr>
      <dsp:spPr>
        <a:xfrm>
          <a:off x="6610229" y="0"/>
          <a:ext cx="4128442" cy="367963"/>
        </a:xfrm>
        <a:prstGeom prst="chevron">
          <a:avLst/>
        </a:prstGeom>
        <a:solidFill>
          <a:srgbClr val="002855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>
              <a:solidFill>
                <a:srgbClr val="FFFFFF"/>
              </a:solidFill>
              <a:latin typeface="Arial"/>
              <a:ea typeface="+mn-ea"/>
              <a:cs typeface="+mn-cs"/>
            </a:rPr>
            <a:t>Día 57</a:t>
          </a:r>
          <a:endParaRPr lang="es-ES" sz="1100" b="1" kern="120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6794211" y="0"/>
        <a:ext cx="3760479" cy="36796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3.60794E-7</cdr:x>
      <cdr:y>0</cdr:y>
    </cdr:from>
    <cdr:to>
      <cdr:x>3.60794E-7</cdr:x>
      <cdr:y>0</cdr:y>
    </cdr:to>
    <cdr:grpSp>
      <cdr:nvGrpSpPr>
        <cdr:cNvPr id="10" name="Group 9">
          <a:extLst xmlns:a="http://schemas.openxmlformats.org/drawingml/2006/main">
            <a:ext uri="{FF2B5EF4-FFF2-40B4-BE49-F238E27FC236}">
              <a16:creationId xmlns:a16="http://schemas.microsoft.com/office/drawing/2014/main" id="{564E4C48-0D1B-52D3-D3EB-86A8D4E47B1E}"/>
            </a:ext>
          </a:extLst>
        </cdr:cNvPr>
        <cdr:cNvGrpSpPr/>
      </cdr:nvGrpSpPr>
      <cdr:grpSpPr>
        <a:xfrm xmlns:a="http://schemas.openxmlformats.org/drawingml/2006/main">
          <a:off x="2" y="0"/>
          <a:ext cx="0" cy="0"/>
          <a:chOff x="2" y="0"/>
          <a:chExt cx="0" cy="0"/>
        </a:xfrm>
      </cdr:grpSpPr>
      <cdr:grpSp>
        <cdr:nvGrpSpPr>
          <cdr:cNvPr id="8" name="Group 7">
            <a:extLst xmlns:a="http://schemas.openxmlformats.org/drawingml/2006/main">
              <a:ext uri="{FF2B5EF4-FFF2-40B4-BE49-F238E27FC236}">
                <a16:creationId xmlns:a16="http://schemas.microsoft.com/office/drawing/2014/main" id="{280E1602-F22C-48A6-24C3-06B2C75DC18A}"/>
              </a:ext>
            </a:extLst>
          </cdr:cNvPr>
          <cdr:cNvGrpSpPr/>
        </cdr:nvGrpSpPr>
        <cdr:grpSpPr>
          <a:xfrm xmlns:a="http://schemas.openxmlformats.org/drawingml/2006/main">
            <a:off x="0" y="78"/>
            <a:ext cx="0" cy="0"/>
            <a:chOff x="0" y="78"/>
            <a:chExt cx="0" cy="0"/>
          </a:xfrm>
        </cdr:grpSpPr>
      </cdr:grpSp>
    </cdr:grp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3.60794E-7</cdr:x>
      <cdr:y>0</cdr:y>
    </cdr:from>
    <cdr:to>
      <cdr:x>3.60794E-7</cdr:x>
      <cdr:y>0</cdr:y>
    </cdr:to>
    <cdr:grpSp>
      <cdr:nvGrpSpPr>
        <cdr:cNvPr id="10" name="Group 9">
          <a:extLst xmlns:a="http://schemas.openxmlformats.org/drawingml/2006/main">
            <a:ext uri="{FF2B5EF4-FFF2-40B4-BE49-F238E27FC236}">
              <a16:creationId xmlns:a16="http://schemas.microsoft.com/office/drawing/2014/main" id="{564E4C48-0D1B-52D3-D3EB-86A8D4E47B1E}"/>
            </a:ext>
          </a:extLst>
        </cdr:cNvPr>
        <cdr:cNvGrpSpPr/>
      </cdr:nvGrpSpPr>
      <cdr:grpSpPr>
        <a:xfrm xmlns:a="http://schemas.openxmlformats.org/drawingml/2006/main">
          <a:off x="2" y="0"/>
          <a:ext cx="0" cy="0"/>
          <a:chOff x="2" y="0"/>
          <a:chExt cx="0" cy="0"/>
        </a:xfrm>
      </cdr:grpSpPr>
      <cdr:grpSp>
        <cdr:nvGrpSpPr>
          <cdr:cNvPr id="8" name="Group 7">
            <a:extLst xmlns:a="http://schemas.openxmlformats.org/drawingml/2006/main">
              <a:ext uri="{FF2B5EF4-FFF2-40B4-BE49-F238E27FC236}">
                <a16:creationId xmlns:a16="http://schemas.microsoft.com/office/drawing/2014/main" id="{280E1602-F22C-48A6-24C3-06B2C75DC18A}"/>
              </a:ext>
            </a:extLst>
          </cdr:cNvPr>
          <cdr:cNvGrpSpPr/>
        </cdr:nvGrpSpPr>
        <cdr:grpSpPr>
          <a:xfrm xmlns:a="http://schemas.openxmlformats.org/drawingml/2006/main">
            <a:off x="0" y="78"/>
            <a:ext cx="0" cy="0"/>
            <a:chOff x="0" y="78"/>
            <a:chExt cx="0" cy="0"/>
          </a:xfrm>
        </cdr:grpSpPr>
      </cdr:grpSp>
    </cdr:grp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3.60794E-7</cdr:x>
      <cdr:y>0</cdr:y>
    </cdr:from>
    <cdr:to>
      <cdr:x>3.60794E-7</cdr:x>
      <cdr:y>0</cdr:y>
    </cdr:to>
    <cdr:grpSp>
      <cdr:nvGrpSpPr>
        <cdr:cNvPr id="10" name="Group 9">
          <a:extLst xmlns:a="http://schemas.openxmlformats.org/drawingml/2006/main">
            <a:ext uri="{FF2B5EF4-FFF2-40B4-BE49-F238E27FC236}">
              <a16:creationId xmlns:a16="http://schemas.microsoft.com/office/drawing/2014/main" id="{564E4C48-0D1B-52D3-D3EB-86A8D4E47B1E}"/>
            </a:ext>
          </a:extLst>
        </cdr:cNvPr>
        <cdr:cNvGrpSpPr/>
      </cdr:nvGrpSpPr>
      <cdr:grpSpPr>
        <a:xfrm xmlns:a="http://schemas.openxmlformats.org/drawingml/2006/main">
          <a:off x="2" y="0"/>
          <a:ext cx="0" cy="0"/>
          <a:chOff x="2" y="0"/>
          <a:chExt cx="0" cy="0"/>
        </a:xfrm>
      </cdr:grpSpPr>
      <cdr:grpSp>
        <cdr:nvGrpSpPr>
          <cdr:cNvPr id="8" name="Group 7">
            <a:extLst xmlns:a="http://schemas.openxmlformats.org/drawingml/2006/main">
              <a:ext uri="{FF2B5EF4-FFF2-40B4-BE49-F238E27FC236}">
                <a16:creationId xmlns:a16="http://schemas.microsoft.com/office/drawing/2014/main" id="{280E1602-F22C-48A6-24C3-06B2C75DC18A}"/>
              </a:ext>
            </a:extLst>
          </cdr:cNvPr>
          <cdr:cNvGrpSpPr/>
        </cdr:nvGrpSpPr>
        <cdr:grpSpPr>
          <a:xfrm xmlns:a="http://schemas.openxmlformats.org/drawingml/2006/main">
            <a:off x="0" y="78"/>
            <a:ext cx="0" cy="0"/>
            <a:chOff x="0" y="78"/>
            <a:chExt cx="0" cy="0"/>
          </a:xfrm>
        </cdr:grpSpPr>
      </cdr:grpSp>
    </cdr:grp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3.60794E-7</cdr:x>
      <cdr:y>0</cdr:y>
    </cdr:from>
    <cdr:to>
      <cdr:x>3.60794E-7</cdr:x>
      <cdr:y>0</cdr:y>
    </cdr:to>
    <cdr:grpSp>
      <cdr:nvGrpSpPr>
        <cdr:cNvPr id="10" name="Group 9">
          <a:extLst xmlns:a="http://schemas.openxmlformats.org/drawingml/2006/main">
            <a:ext uri="{FF2B5EF4-FFF2-40B4-BE49-F238E27FC236}">
              <a16:creationId xmlns:a16="http://schemas.microsoft.com/office/drawing/2014/main" id="{564E4C48-0D1B-52D3-D3EB-86A8D4E47B1E}"/>
            </a:ext>
          </a:extLst>
        </cdr:cNvPr>
        <cdr:cNvGrpSpPr/>
      </cdr:nvGrpSpPr>
      <cdr:grpSpPr>
        <a:xfrm xmlns:a="http://schemas.openxmlformats.org/drawingml/2006/main">
          <a:off x="2" y="0"/>
          <a:ext cx="0" cy="0"/>
          <a:chOff x="2" y="0"/>
          <a:chExt cx="0" cy="0"/>
        </a:xfrm>
      </cdr:grpSpPr>
      <cdr:grpSp>
        <cdr:nvGrpSpPr>
          <cdr:cNvPr id="8" name="Group 7">
            <a:extLst xmlns:a="http://schemas.openxmlformats.org/drawingml/2006/main">
              <a:ext uri="{FF2B5EF4-FFF2-40B4-BE49-F238E27FC236}">
                <a16:creationId xmlns:a16="http://schemas.microsoft.com/office/drawing/2014/main" id="{280E1602-F22C-48A6-24C3-06B2C75DC18A}"/>
              </a:ext>
            </a:extLst>
          </cdr:cNvPr>
          <cdr:cNvGrpSpPr/>
        </cdr:nvGrpSpPr>
        <cdr:grpSpPr>
          <a:xfrm xmlns:a="http://schemas.openxmlformats.org/drawingml/2006/main">
            <a:off x="0" y="78"/>
            <a:ext cx="0" cy="0"/>
            <a:chOff x="0" y="78"/>
            <a:chExt cx="0" cy="0"/>
          </a:xfrm>
        </cdr:grpSpPr>
      </cdr:grpSp>
    </cdr:grp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237348-0691-4E48-8463-76247198A4A9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6D4378-6150-409E-97A1-53E89B857D3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45256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6D4378-6150-409E-97A1-53E89B857D3B}" type="slidenum">
              <a:rPr lang="es-ES" smtClean="0"/>
              <a:t>2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479554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6D4378-6150-409E-97A1-53E89B857D3B}" type="slidenum">
              <a:rPr lang="es-ES" smtClean="0"/>
              <a:t>2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634705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6D4378-6150-409E-97A1-53E89B857D3B}" type="slidenum">
              <a:rPr lang="es-ES" smtClean="0"/>
              <a:t>2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97064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6D4378-6150-409E-97A1-53E89B857D3B}" type="slidenum">
              <a:rPr lang="es-ES" smtClean="0"/>
              <a:t>2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999017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0D85B435-0A70-4655-9BD6-2767071966CE}" type="slidenum">
              <a:rPr lang="es-ES">
                <a:solidFill>
                  <a:prstClr val="black"/>
                </a:solidFill>
                <a:latin typeface="Calibri" panose="020F0502020204030204"/>
              </a:rPr>
              <a:pPr defTabSz="914318">
                <a:defRPr/>
              </a:pPr>
              <a:t>52</a:t>
            </a:fld>
            <a:endParaRPr lang="es-E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2483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14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25.emf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//Users/eloypws/Library/CloudStorage/GoogleDrive-eloy@fictio.com/Unidades%20compartidas/ALMIRALL/ALM_Dermatology/23-000000%20Skin_Academy%202024/02%20SKIN24_MATERIALES/01_SKIN24_Plantilla_PPT/Images/Logo_skin_Blue.png" TargetMode="External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14.png"/><Relationship Id="rId4" Type="http://schemas.openxmlformats.org/officeDocument/2006/relationships/image" Target="../media/image4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4.png"/><Relationship Id="rId4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cipa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Una persona con una camiseta blanca&#10;&#10;Descripción generada automáticamente con confianza baja">
            <a:extLst>
              <a:ext uri="{FF2B5EF4-FFF2-40B4-BE49-F238E27FC236}">
                <a16:creationId xmlns:a16="http://schemas.microsoft.com/office/drawing/2014/main" id="{247685A9-F3CC-9373-8D6D-27581692F7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Imagen 11" descr="Logotipo&#10;&#10;Descripción generada automáticamente">
            <a:extLst>
              <a:ext uri="{FF2B5EF4-FFF2-40B4-BE49-F238E27FC236}">
                <a16:creationId xmlns:a16="http://schemas.microsoft.com/office/drawing/2014/main" id="{8E0C643C-2BC7-23B6-EDDB-71DCFE4198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625" y="1922728"/>
            <a:ext cx="6899968" cy="3358895"/>
          </a:xfrm>
          <a:prstGeom prst="rect">
            <a:avLst/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0285591B-AFE2-3B79-CF42-C6439897FC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6597" r="19800" b="17542"/>
          <a:stretch/>
        </p:blipFill>
        <p:spPr>
          <a:xfrm>
            <a:off x="10549263" y="5926412"/>
            <a:ext cx="1311153" cy="715020"/>
          </a:xfrm>
          <a:prstGeom prst="rect">
            <a:avLst/>
          </a:prstGeom>
        </p:spPr>
      </p:pic>
      <p:grpSp>
        <p:nvGrpSpPr>
          <p:cNvPr id="20" name="Grupo 19">
            <a:extLst>
              <a:ext uri="{FF2B5EF4-FFF2-40B4-BE49-F238E27FC236}">
                <a16:creationId xmlns:a16="http://schemas.microsoft.com/office/drawing/2014/main" id="{03803D70-22F1-9E24-36A4-A4C0CB8CDC7E}"/>
              </a:ext>
            </a:extLst>
          </p:cNvPr>
          <p:cNvGrpSpPr/>
          <p:nvPr userDrawn="1"/>
        </p:nvGrpSpPr>
        <p:grpSpPr>
          <a:xfrm>
            <a:off x="243803" y="6283922"/>
            <a:ext cx="6228334" cy="307777"/>
            <a:chOff x="243803" y="6283922"/>
            <a:chExt cx="6228334" cy="307777"/>
          </a:xfrm>
        </p:grpSpPr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3281D1F3-375A-2C89-FFD2-E438C5245B77}"/>
                </a:ext>
              </a:extLst>
            </p:cNvPr>
            <p:cNvSpPr txBox="1"/>
            <p:nvPr userDrawn="1"/>
          </p:nvSpPr>
          <p:spPr>
            <a:xfrm>
              <a:off x="331585" y="6283922"/>
              <a:ext cx="614055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70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Este medicamento está sujeto a seguimiento adicional, es prioritaria la notificación de sospechas </a:t>
              </a:r>
              <a:r>
                <a:rPr lang="es-ES" sz="700" err="1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adversasasociadas</a:t>
              </a:r>
              <a:r>
                <a:rPr lang="es-ES" sz="70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a este medicamento.</a:t>
              </a:r>
            </a:p>
            <a:p>
              <a:pPr algn="r"/>
              <a:endParaRPr lang="es-ES" sz="7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Triángulo 18">
              <a:extLst>
                <a:ext uri="{FF2B5EF4-FFF2-40B4-BE49-F238E27FC236}">
                  <a16:creationId xmlns:a16="http://schemas.microsoft.com/office/drawing/2014/main" id="{9718DD24-52D9-FDAF-9B35-673DA42222A6}"/>
                </a:ext>
              </a:extLst>
            </p:cNvPr>
            <p:cNvSpPr/>
            <p:nvPr userDrawn="1"/>
          </p:nvSpPr>
          <p:spPr>
            <a:xfrm rot="10800000">
              <a:off x="243803" y="6343517"/>
              <a:ext cx="110712" cy="954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4" name="Imagen 3" descr="Texto&#10;&#10;Descripción generada automáticamente">
            <a:extLst>
              <a:ext uri="{FF2B5EF4-FFF2-40B4-BE49-F238E27FC236}">
                <a16:creationId xmlns:a16="http://schemas.microsoft.com/office/drawing/2014/main" id="{7A7E7109-9E21-9DC6-321D-E0AD6A5661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1761" y="346351"/>
            <a:ext cx="2138655" cy="518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505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- Comp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5BD8244B-4A44-13A0-FF46-EEC0DB7909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597" r="19800" b="17542"/>
          <a:stretch/>
        </p:blipFill>
        <p:spPr>
          <a:xfrm>
            <a:off x="10549263" y="5926412"/>
            <a:ext cx="1311153" cy="715020"/>
          </a:xfrm>
          <a:prstGeom prst="rect">
            <a:avLst/>
          </a:prstGeom>
        </p:spPr>
      </p:pic>
      <p:pic>
        <p:nvPicPr>
          <p:cNvPr id="11" name="Imagen 10" descr="Logotipo&#10;&#10;Descripción generada automáticamente">
            <a:extLst>
              <a:ext uri="{FF2B5EF4-FFF2-40B4-BE49-F238E27FC236}">
                <a16:creationId xmlns:a16="http://schemas.microsoft.com/office/drawing/2014/main" id="{6266CB40-FAA1-1735-DAF2-5F316E382F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4033" y="34092"/>
            <a:ext cx="2542516" cy="1237693"/>
          </a:xfrm>
          <a:prstGeom prst="rect">
            <a:avLst/>
          </a:prstGeom>
        </p:spPr>
      </p:pic>
      <p:pic>
        <p:nvPicPr>
          <p:cNvPr id="2" name="Imagen 1" descr="Texto&#10;&#10;Descripción generada automáticamente">
            <a:extLst>
              <a:ext uri="{FF2B5EF4-FFF2-40B4-BE49-F238E27FC236}">
                <a16:creationId xmlns:a16="http://schemas.microsoft.com/office/drawing/2014/main" id="{7A246367-80F2-7D0C-23E3-8DC31F282F4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4" y="6268225"/>
            <a:ext cx="1538170" cy="37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715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30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  <p:sp>
        <p:nvSpPr>
          <p:cNvPr id="5" name="Marcador de texto 9">
            <a:extLst>
              <a:ext uri="{FF2B5EF4-FFF2-40B4-BE49-F238E27FC236}">
                <a16:creationId xmlns:a16="http://schemas.microsoft.com/office/drawing/2014/main" id="{BA9290BC-3658-EAF8-4F10-519B1B9B19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06806" y="6352378"/>
            <a:ext cx="8572999" cy="312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7F7F7F"/>
                </a:solidFill>
              </a:defRPr>
            </a:lvl1pPr>
          </a:lstStyle>
          <a:p>
            <a:r>
              <a:rPr lang="es-ES" sz="1400" kern="1200" err="1">
                <a:solidFill>
                  <a:srgbClr val="7F7F7F"/>
                </a:solidFill>
                <a:latin typeface="+mn-lt"/>
                <a:ea typeface="+mn-ea"/>
                <a:cs typeface="+mn-cs"/>
              </a:rPr>
              <a:t>Footnotes</a:t>
            </a:r>
            <a:r>
              <a:rPr lang="es-ES" sz="1400" kern="1200">
                <a:solidFill>
                  <a:srgbClr val="7F7F7F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s-ES" sz="1400" kern="1200" err="1">
                <a:solidFill>
                  <a:srgbClr val="7F7F7F"/>
                </a:solidFill>
                <a:latin typeface="+mn-lt"/>
                <a:ea typeface="+mn-ea"/>
                <a:cs typeface="+mn-cs"/>
              </a:rPr>
              <a:t>references</a:t>
            </a:r>
            <a:endParaRPr lang="es-ES" sz="1400" kern="1200">
              <a:solidFill>
                <a:srgbClr val="7F7F7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1494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ra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CC47F03-8D9D-084D-9518-29E459536B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850" y="187943"/>
            <a:ext cx="10020767" cy="896579"/>
          </a:xfrm>
          <a:prstGeom prst="rect">
            <a:avLst/>
          </a:prstGeom>
        </p:spPr>
        <p:txBody>
          <a:bodyPr anchor="ctr"/>
          <a:lstStyle>
            <a:lvl1pPr marL="0" marR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>
                <a:solidFill>
                  <a:srgbClr val="E63D42"/>
                </a:solidFill>
              </a:defRPr>
            </a:lvl1pPr>
            <a:lvl2pPr marL="457189" indent="0">
              <a:buNone/>
              <a:defRPr sz="2200">
                <a:solidFill>
                  <a:srgbClr val="002855"/>
                </a:solidFill>
              </a:defRPr>
            </a:lvl2pPr>
            <a:lvl3pPr marL="914377" indent="0">
              <a:buNone/>
              <a:defRPr sz="2200">
                <a:solidFill>
                  <a:srgbClr val="002855"/>
                </a:solidFill>
              </a:defRPr>
            </a:lvl3pPr>
            <a:lvl4pPr marL="1371566" indent="0">
              <a:buNone/>
              <a:defRPr sz="2200">
                <a:solidFill>
                  <a:srgbClr val="002855"/>
                </a:solidFill>
              </a:defRPr>
            </a:lvl4pPr>
            <a:lvl5pPr marL="1828754" indent="0">
              <a:buNone/>
              <a:defRPr sz="2200">
                <a:solidFill>
                  <a:srgbClr val="002855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para modificar el título de la </a:t>
            </a:r>
            <a:r>
              <a:rPr lang="es-ES" err="1"/>
              <a:t>slide</a:t>
            </a:r>
            <a:endParaRPr lang="es-ES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1AF2F6FB-2049-004C-8834-C0C3CD662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4876"/>
          <a:stretch/>
        </p:blipFill>
        <p:spPr>
          <a:xfrm>
            <a:off x="10479803" y="1792970"/>
            <a:ext cx="1712199" cy="4238639"/>
          </a:xfrm>
          <a:prstGeom prst="rect">
            <a:avLst/>
          </a:prstGeom>
        </p:spPr>
      </p:pic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90989688-8158-6345-BB23-891262A748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5614" y="1290750"/>
            <a:ext cx="9383047" cy="4238639"/>
          </a:xfrm>
          <a:prstGeom prst="rect">
            <a:avLst/>
          </a:prstGeom>
        </p:spPr>
        <p:txBody>
          <a:bodyPr/>
          <a:lstStyle>
            <a:lvl1pPr marL="246057" marR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3"/>
              </a:buBlip>
              <a:tabLst/>
              <a:defRPr sz="1500">
                <a:solidFill>
                  <a:srgbClr val="002855"/>
                </a:solidFill>
              </a:defRPr>
            </a:lvl1pPr>
            <a:lvl2pPr marL="627047" indent="-133347">
              <a:lnSpc>
                <a:spcPts val="196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400">
                <a:solidFill>
                  <a:srgbClr val="002855"/>
                </a:solidFill>
              </a:defRPr>
            </a:lvl2pPr>
            <a:lvl3pPr marL="914377" indent="0">
              <a:buNone/>
              <a:defRPr>
                <a:solidFill>
                  <a:srgbClr val="002855"/>
                </a:solidFill>
              </a:defRPr>
            </a:lvl3pPr>
            <a:lvl4pPr marL="1371566" indent="0">
              <a:buNone/>
              <a:defRPr>
                <a:solidFill>
                  <a:srgbClr val="002855"/>
                </a:solidFill>
              </a:defRPr>
            </a:lvl4pPr>
            <a:lvl5pPr marL="1828754" indent="0">
              <a:buNone/>
              <a:defRPr>
                <a:solidFill>
                  <a:srgbClr val="002855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pic>
        <p:nvPicPr>
          <p:cNvPr id="13" name="Imagen 6">
            <a:extLst>
              <a:ext uri="{FF2B5EF4-FFF2-40B4-BE49-F238E27FC236}">
                <a16:creationId xmlns:a16="http://schemas.microsoft.com/office/drawing/2014/main" id="{88D97DAB-11E5-420B-A7FD-B46FC81AF11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26774" y="6144344"/>
            <a:ext cx="11141767" cy="52571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6B1C57E-55D2-40EB-AB6F-B5D20C59F774}"/>
              </a:ext>
            </a:extLst>
          </p:cNvPr>
          <p:cNvSpPr/>
          <p:nvPr userDrawn="1"/>
        </p:nvSpPr>
        <p:spPr>
          <a:xfrm>
            <a:off x="10429876" y="6345728"/>
            <a:ext cx="1362981" cy="3963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D85EE8A-EEFB-B5FF-6948-1006612C8F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57625" y="6300149"/>
            <a:ext cx="1735232" cy="482647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6DE03426-39FA-2EC5-116D-3566EE444A50}"/>
              </a:ext>
            </a:extLst>
          </p:cNvPr>
          <p:cNvSpPr/>
          <p:nvPr userDrawn="1"/>
        </p:nvSpPr>
        <p:spPr>
          <a:xfrm>
            <a:off x="11335902" y="75204"/>
            <a:ext cx="856098" cy="1811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6A867C3C-69EB-DF45-89F0-CA16CEF24C1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66620" y="75204"/>
            <a:ext cx="1257300" cy="107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8889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dondear rectángulo de esquina sencilla 10"/>
          <p:cNvSpPr/>
          <p:nvPr userDrawn="1"/>
        </p:nvSpPr>
        <p:spPr>
          <a:xfrm flipV="1">
            <a:off x="0" y="4446421"/>
            <a:ext cx="12192000" cy="2411579"/>
          </a:xfrm>
          <a:custGeom>
            <a:avLst/>
            <a:gdLst>
              <a:gd name="connsiteX0" fmla="*/ 0 w 9144000"/>
              <a:gd name="connsiteY0" fmla="*/ 0 h 1808684"/>
              <a:gd name="connsiteX1" fmla="*/ 8651550 w 9144000"/>
              <a:gd name="connsiteY1" fmla="*/ 0 h 1808684"/>
              <a:gd name="connsiteX2" fmla="*/ 9144000 w 9144000"/>
              <a:gd name="connsiteY2" fmla="*/ 492450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651550 w 9144000"/>
              <a:gd name="connsiteY1" fmla="*/ 0 h 1808684"/>
              <a:gd name="connsiteX2" fmla="*/ 9144000 w 9144000"/>
              <a:gd name="connsiteY2" fmla="*/ 810220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651550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583456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508877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366205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398630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398630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398630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1808684">
                <a:moveTo>
                  <a:pt x="0" y="0"/>
                </a:moveTo>
                <a:lnTo>
                  <a:pt x="8398630" y="0"/>
                </a:lnTo>
                <a:cubicBezTo>
                  <a:pt x="8826245" y="0"/>
                  <a:pt x="9144000" y="340451"/>
                  <a:pt x="9144000" y="648092"/>
                </a:cubicBezTo>
                <a:lnTo>
                  <a:pt x="9144000" y="1808684"/>
                </a:lnTo>
                <a:lnTo>
                  <a:pt x="0" y="180868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Marcador de imagen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"/>
            <a:ext cx="12192000" cy="4446588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032" y="398750"/>
            <a:ext cx="10188121" cy="400941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7066"/>
              </a:lnSpc>
              <a:defRPr sz="7066" baseline="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Headline 3 </a:t>
            </a:r>
            <a:br>
              <a:rPr lang="en-US" noProof="0"/>
            </a:br>
            <a:r>
              <a:rPr lang="en-US" noProof="0"/>
              <a:t>is Arial Regular</a:t>
            </a:r>
            <a:br>
              <a:rPr lang="en-US" noProof="0"/>
            </a:br>
            <a:r>
              <a:rPr lang="en-US" noProof="0"/>
              <a:t>53/53 pt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47441" y="4774997"/>
            <a:ext cx="6908232" cy="12200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67" baseline="0">
                <a:solidFill>
                  <a:schemeClr val="accent1"/>
                </a:solidFill>
              </a:defRPr>
            </a:lvl1pPr>
            <a:lvl2pPr marL="609555" indent="0" algn="ctr">
              <a:buNone/>
              <a:defRPr sz="2667"/>
            </a:lvl2pPr>
            <a:lvl3pPr marL="1219108" indent="0" algn="ctr">
              <a:buNone/>
              <a:defRPr sz="2400"/>
            </a:lvl3pPr>
            <a:lvl4pPr marL="1828664" indent="0" algn="ctr">
              <a:buNone/>
              <a:defRPr sz="2133"/>
            </a:lvl4pPr>
            <a:lvl5pPr marL="2438218" indent="0" algn="ctr">
              <a:buNone/>
              <a:defRPr sz="2133"/>
            </a:lvl5pPr>
            <a:lvl6pPr marL="3047772" indent="0" algn="ctr">
              <a:buNone/>
              <a:defRPr sz="2133"/>
            </a:lvl6pPr>
            <a:lvl7pPr marL="3657325" indent="0" algn="ctr">
              <a:buNone/>
              <a:defRPr sz="2133"/>
            </a:lvl7pPr>
            <a:lvl8pPr marL="4266880" indent="0" algn="ctr">
              <a:buNone/>
              <a:defRPr sz="2133"/>
            </a:lvl8pPr>
            <a:lvl9pPr marL="4876435" indent="0" algn="ctr">
              <a:buNone/>
              <a:defRPr sz="2133"/>
            </a:lvl9pPr>
          </a:lstStyle>
          <a:p>
            <a:r>
              <a:rPr lang="en-US" noProof="0"/>
              <a:t>Subhead 2 is Arial Regular 20/Simple pt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547441" y="6097186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>
              <a:defRPr sz="1467">
                <a:solidFill>
                  <a:schemeClr val="accent1"/>
                </a:solidFill>
              </a:defRPr>
            </a:lvl1pPr>
          </a:lstStyle>
          <a:p>
            <a:fld id="{55BFEDFB-06AB-B541-A6A7-71CFBA659D36}" type="datetime3">
              <a:rPr lang="en-US" noProof="0" smtClean="0"/>
              <a:t>11 October 2024</a:t>
            </a:fld>
            <a:endParaRPr lang="en-US" noProof="0"/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98426"/>
            <a:ext cx="2875200" cy="1259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710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2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(to prin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dondear rectángulo de esquina sencilla 9"/>
          <p:cNvSpPr/>
          <p:nvPr userDrawn="1"/>
        </p:nvSpPr>
        <p:spPr>
          <a:xfrm flipV="1">
            <a:off x="-7161" y="-3"/>
            <a:ext cx="12212573" cy="6868000"/>
          </a:xfrm>
          <a:custGeom>
            <a:avLst/>
            <a:gdLst>
              <a:gd name="connsiteX0" fmla="*/ 0 w 9159430"/>
              <a:gd name="connsiteY0" fmla="*/ 0 h 5151000"/>
              <a:gd name="connsiteX1" fmla="*/ 8570362 w 9159430"/>
              <a:gd name="connsiteY1" fmla="*/ 0 h 5151000"/>
              <a:gd name="connsiteX2" fmla="*/ 9159430 w 9159430"/>
              <a:gd name="connsiteY2" fmla="*/ 589068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269213 w 9159430"/>
              <a:gd name="connsiteY1" fmla="*/ 5475 h 5151000"/>
              <a:gd name="connsiteX2" fmla="*/ 9159430 w 9159430"/>
              <a:gd name="connsiteY2" fmla="*/ 589068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9430 w 9159430"/>
              <a:gd name="connsiteY2" fmla="*/ 589068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9430 w 9159430"/>
              <a:gd name="connsiteY2" fmla="*/ 873792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3954 w 9159430"/>
              <a:gd name="connsiteY2" fmla="*/ 819037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3954 w 9159430"/>
              <a:gd name="connsiteY2" fmla="*/ 819037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9430" h="5151000">
                <a:moveTo>
                  <a:pt x="0" y="0"/>
                </a:moveTo>
                <a:lnTo>
                  <a:pt x="8345869" y="5475"/>
                </a:lnTo>
                <a:cubicBezTo>
                  <a:pt x="8671202" y="5475"/>
                  <a:pt x="9143003" y="176128"/>
                  <a:pt x="9153954" y="819037"/>
                </a:cubicBezTo>
                <a:cubicBezTo>
                  <a:pt x="9155779" y="2263025"/>
                  <a:pt x="9157605" y="3707012"/>
                  <a:pt x="9159430" y="5151000"/>
                </a:cubicBezTo>
                <a:lnTo>
                  <a:pt x="0" y="5151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4" name="Título 3"/>
          <p:cNvSpPr>
            <a:spLocks noGrp="1"/>
          </p:cNvSpPr>
          <p:nvPr>
            <p:ph type="title" hasCustomPrompt="1"/>
          </p:nvPr>
        </p:nvSpPr>
        <p:spPr>
          <a:xfrm>
            <a:off x="410084" y="1455089"/>
            <a:ext cx="11403033" cy="435239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66">
                <a:solidFill>
                  <a:srgbClr val="053D78"/>
                </a:solidFill>
              </a:defRPr>
            </a:lvl1pPr>
          </a:lstStyle>
          <a:p>
            <a:r>
              <a:rPr lang="en-US"/>
              <a:t>1</a:t>
            </a:r>
            <a:br>
              <a:rPr lang="en-US"/>
            </a:br>
            <a:r>
              <a:rPr lang="en-US"/>
              <a:t>Chapter cover (to print) text is Arial Regular 53/53pt.</a:t>
            </a:r>
            <a:br>
              <a:rPr lang="en-US"/>
            </a:br>
            <a:endParaRPr lang="en-US" noProof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4" y="6392072"/>
            <a:ext cx="3205969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cxnSp>
        <p:nvCxnSpPr>
          <p:cNvPr id="14" name="Conector recto 13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991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level 2 (to prin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dondear rectángulo de esquina sencilla 9"/>
          <p:cNvSpPr/>
          <p:nvPr userDrawn="1"/>
        </p:nvSpPr>
        <p:spPr>
          <a:xfrm flipV="1">
            <a:off x="-7161" y="-3"/>
            <a:ext cx="12212573" cy="6868000"/>
          </a:xfrm>
          <a:custGeom>
            <a:avLst/>
            <a:gdLst>
              <a:gd name="connsiteX0" fmla="*/ 0 w 9159430"/>
              <a:gd name="connsiteY0" fmla="*/ 0 h 5151000"/>
              <a:gd name="connsiteX1" fmla="*/ 8570362 w 9159430"/>
              <a:gd name="connsiteY1" fmla="*/ 0 h 5151000"/>
              <a:gd name="connsiteX2" fmla="*/ 9159430 w 9159430"/>
              <a:gd name="connsiteY2" fmla="*/ 589068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269213 w 9159430"/>
              <a:gd name="connsiteY1" fmla="*/ 5475 h 5151000"/>
              <a:gd name="connsiteX2" fmla="*/ 9159430 w 9159430"/>
              <a:gd name="connsiteY2" fmla="*/ 589068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9430 w 9159430"/>
              <a:gd name="connsiteY2" fmla="*/ 589068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9430 w 9159430"/>
              <a:gd name="connsiteY2" fmla="*/ 873792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3954 w 9159430"/>
              <a:gd name="connsiteY2" fmla="*/ 819037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3954 w 9159430"/>
              <a:gd name="connsiteY2" fmla="*/ 819037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9430" h="5151000">
                <a:moveTo>
                  <a:pt x="0" y="0"/>
                </a:moveTo>
                <a:lnTo>
                  <a:pt x="8345869" y="5475"/>
                </a:lnTo>
                <a:cubicBezTo>
                  <a:pt x="8671202" y="5475"/>
                  <a:pt x="9143003" y="176128"/>
                  <a:pt x="9153954" y="819037"/>
                </a:cubicBezTo>
                <a:cubicBezTo>
                  <a:pt x="9155779" y="2263025"/>
                  <a:pt x="9157605" y="3707012"/>
                  <a:pt x="9159430" y="5151000"/>
                </a:cubicBezTo>
                <a:lnTo>
                  <a:pt x="0" y="5151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4" y="6392072"/>
            <a:ext cx="3205969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cxnSp>
        <p:nvCxnSpPr>
          <p:cNvPr id="8" name="Conector recto 7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28697" y="1566771"/>
            <a:ext cx="11384420" cy="414764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1.1</a:t>
            </a:r>
            <a:br>
              <a:rPr lang="en-US" noProof="0"/>
            </a:br>
            <a:r>
              <a:rPr lang="en-US" noProof="0"/>
              <a:t>Chapter cover level 2 (to print) </a:t>
            </a:r>
            <a:br>
              <a:rPr lang="en-US" noProof="0"/>
            </a:br>
            <a:r>
              <a:rPr lang="en-US" noProof="0"/>
              <a:t>text is Arial Regular 33/33pt.</a:t>
            </a: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6604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imagen 7"/>
          <p:cNvSpPr>
            <a:spLocks noGrp="1"/>
          </p:cNvSpPr>
          <p:nvPr>
            <p:ph type="pic" sz="quarter" idx="20" hasCustomPrompt="1"/>
          </p:nvPr>
        </p:nvSpPr>
        <p:spPr>
          <a:xfrm>
            <a:off x="4455614" y="1448657"/>
            <a:ext cx="7403837" cy="4080000"/>
          </a:xfrm>
          <a:custGeom>
            <a:avLst/>
            <a:gdLst>
              <a:gd name="connsiteX0" fmla="*/ 0 w 8411266"/>
              <a:gd name="connsiteY0" fmla="*/ 0 h 2915921"/>
              <a:gd name="connsiteX1" fmla="*/ 8411266 w 8411266"/>
              <a:gd name="connsiteY1" fmla="*/ 0 h 2915921"/>
              <a:gd name="connsiteX2" fmla="*/ 8411266 w 8411266"/>
              <a:gd name="connsiteY2" fmla="*/ 2915921 h 2915921"/>
              <a:gd name="connsiteX3" fmla="*/ 0 w 8411266"/>
              <a:gd name="connsiteY3" fmla="*/ 2915921 h 2915921"/>
              <a:gd name="connsiteX4" fmla="*/ 0 w 8411266"/>
              <a:gd name="connsiteY4" fmla="*/ 0 h 2915921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11266 w 8411266"/>
              <a:gd name="connsiteY2" fmla="*/ 2915921 h 2915922"/>
              <a:gd name="connsiteX3" fmla="*/ 7668987 w 8411266"/>
              <a:gd name="connsiteY3" fmla="*/ 2915922 h 2915922"/>
              <a:gd name="connsiteX4" fmla="*/ 0 w 8411266"/>
              <a:gd name="connsiteY4" fmla="*/ 2915921 h 2915922"/>
              <a:gd name="connsiteX5" fmla="*/ 0 w 8411266"/>
              <a:gd name="connsiteY5" fmla="*/ 0 h 2915922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05886 w 8411266"/>
              <a:gd name="connsiteY2" fmla="*/ 2238189 h 2915922"/>
              <a:gd name="connsiteX3" fmla="*/ 8411266 w 8411266"/>
              <a:gd name="connsiteY3" fmla="*/ 2915921 h 2915922"/>
              <a:gd name="connsiteX4" fmla="*/ 7668987 w 8411266"/>
              <a:gd name="connsiteY4" fmla="*/ 2915922 h 2915922"/>
              <a:gd name="connsiteX5" fmla="*/ 0 w 8411266"/>
              <a:gd name="connsiteY5" fmla="*/ 2915921 h 2915922"/>
              <a:gd name="connsiteX6" fmla="*/ 0 w 8411266"/>
              <a:gd name="connsiteY6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8411266 w 8411782"/>
              <a:gd name="connsiteY3" fmla="*/ 2915921 h 2915922"/>
              <a:gd name="connsiteX4" fmla="*/ 7668987 w 8411782"/>
              <a:gd name="connsiteY4" fmla="*/ 2915922 h 2915922"/>
              <a:gd name="connsiteX5" fmla="*/ 0 w 8411782"/>
              <a:gd name="connsiteY5" fmla="*/ 2915921 h 2915922"/>
              <a:gd name="connsiteX6" fmla="*/ 0 w 8411782"/>
              <a:gd name="connsiteY6" fmla="*/ 0 h 2915922"/>
              <a:gd name="connsiteX0" fmla="*/ 0 w 8519559"/>
              <a:gd name="connsiteY0" fmla="*/ 0 h 2915922"/>
              <a:gd name="connsiteX1" fmla="*/ 8411266 w 8519559"/>
              <a:gd name="connsiteY1" fmla="*/ 0 h 2915922"/>
              <a:gd name="connsiteX2" fmla="*/ 8411265 w 8519559"/>
              <a:gd name="connsiteY2" fmla="*/ 2211294 h 2915922"/>
              <a:gd name="connsiteX3" fmla="*/ 7668987 w 8519559"/>
              <a:gd name="connsiteY3" fmla="*/ 2915922 h 2915922"/>
              <a:gd name="connsiteX4" fmla="*/ 0 w 8519559"/>
              <a:gd name="connsiteY4" fmla="*/ 2915921 h 2915922"/>
              <a:gd name="connsiteX5" fmla="*/ 0 w 8519559"/>
              <a:gd name="connsiteY5" fmla="*/ 0 h 2915922"/>
              <a:gd name="connsiteX0" fmla="*/ 0 w 8568374"/>
              <a:gd name="connsiteY0" fmla="*/ 0 h 2915922"/>
              <a:gd name="connsiteX1" fmla="*/ 8411266 w 8568374"/>
              <a:gd name="connsiteY1" fmla="*/ 0 h 2915922"/>
              <a:gd name="connsiteX2" fmla="*/ 8411265 w 8568374"/>
              <a:gd name="connsiteY2" fmla="*/ 2211294 h 2915922"/>
              <a:gd name="connsiteX3" fmla="*/ 7668987 w 8568374"/>
              <a:gd name="connsiteY3" fmla="*/ 2915922 h 2915922"/>
              <a:gd name="connsiteX4" fmla="*/ 0 w 8568374"/>
              <a:gd name="connsiteY4" fmla="*/ 2915921 h 2915922"/>
              <a:gd name="connsiteX5" fmla="*/ 0 w 8568374"/>
              <a:gd name="connsiteY5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7668987 w 8411782"/>
              <a:gd name="connsiteY3" fmla="*/ 2915922 h 2915922"/>
              <a:gd name="connsiteX4" fmla="*/ 0 w 8411782"/>
              <a:gd name="connsiteY4" fmla="*/ 2915921 h 2915922"/>
              <a:gd name="connsiteX5" fmla="*/ 0 w 8411782"/>
              <a:gd name="connsiteY5" fmla="*/ 0 h 2915922"/>
              <a:gd name="connsiteX0" fmla="*/ 0 w 8418465"/>
              <a:gd name="connsiteY0" fmla="*/ 0 h 2915922"/>
              <a:gd name="connsiteX1" fmla="*/ 8411266 w 8418465"/>
              <a:gd name="connsiteY1" fmla="*/ 0 h 2915922"/>
              <a:gd name="connsiteX2" fmla="*/ 8418046 w 8418465"/>
              <a:gd name="connsiteY2" fmla="*/ 2519966 h 2915922"/>
              <a:gd name="connsiteX3" fmla="*/ 7668987 w 8418465"/>
              <a:gd name="connsiteY3" fmla="*/ 2915922 h 2915922"/>
              <a:gd name="connsiteX4" fmla="*/ 0 w 8418465"/>
              <a:gd name="connsiteY4" fmla="*/ 2915921 h 2915922"/>
              <a:gd name="connsiteX5" fmla="*/ 0 w 8418465"/>
              <a:gd name="connsiteY5" fmla="*/ 0 h 2915922"/>
              <a:gd name="connsiteX0" fmla="*/ 0 w 8425205"/>
              <a:gd name="connsiteY0" fmla="*/ 0 h 2915922"/>
              <a:gd name="connsiteX1" fmla="*/ 8411266 w 8425205"/>
              <a:gd name="connsiteY1" fmla="*/ 0 h 2915922"/>
              <a:gd name="connsiteX2" fmla="*/ 8424827 w 8425205"/>
              <a:gd name="connsiteY2" fmla="*/ 2522560 h 2915922"/>
              <a:gd name="connsiteX3" fmla="*/ 7668987 w 8425205"/>
              <a:gd name="connsiteY3" fmla="*/ 2915922 h 2915922"/>
              <a:gd name="connsiteX4" fmla="*/ 0 w 8425205"/>
              <a:gd name="connsiteY4" fmla="*/ 2915921 h 2915922"/>
              <a:gd name="connsiteX5" fmla="*/ 0 w 8425205"/>
              <a:gd name="connsiteY5" fmla="*/ 0 h 2915922"/>
              <a:gd name="connsiteX0" fmla="*/ 0 w 8411783"/>
              <a:gd name="connsiteY0" fmla="*/ 0 h 2915922"/>
              <a:gd name="connsiteX1" fmla="*/ 8411266 w 8411783"/>
              <a:gd name="connsiteY1" fmla="*/ 0 h 2915922"/>
              <a:gd name="connsiteX2" fmla="*/ 8411265 w 8411783"/>
              <a:gd name="connsiteY2" fmla="*/ 2506997 h 2915922"/>
              <a:gd name="connsiteX3" fmla="*/ 7668987 w 8411783"/>
              <a:gd name="connsiteY3" fmla="*/ 2915922 h 2915922"/>
              <a:gd name="connsiteX4" fmla="*/ 0 w 8411783"/>
              <a:gd name="connsiteY4" fmla="*/ 2915921 h 2915922"/>
              <a:gd name="connsiteX5" fmla="*/ 0 w 8411783"/>
              <a:gd name="connsiteY5" fmla="*/ 0 h 2915922"/>
              <a:gd name="connsiteX0" fmla="*/ 0 w 8411781"/>
              <a:gd name="connsiteY0" fmla="*/ 0 h 2918516"/>
              <a:gd name="connsiteX1" fmla="*/ 8411266 w 8411781"/>
              <a:gd name="connsiteY1" fmla="*/ 0 h 2918516"/>
              <a:gd name="connsiteX2" fmla="*/ 8411265 w 8411781"/>
              <a:gd name="connsiteY2" fmla="*/ 2506997 h 2918516"/>
              <a:gd name="connsiteX3" fmla="*/ 7431649 w 8411781"/>
              <a:gd name="connsiteY3" fmla="*/ 2918516 h 2918516"/>
              <a:gd name="connsiteX4" fmla="*/ 0 w 8411781"/>
              <a:gd name="connsiteY4" fmla="*/ 2915921 h 2918516"/>
              <a:gd name="connsiteX5" fmla="*/ 0 w 8411781"/>
              <a:gd name="connsiteY5" fmla="*/ 0 h 2918516"/>
              <a:gd name="connsiteX0" fmla="*/ 0 w 8411783"/>
              <a:gd name="connsiteY0" fmla="*/ 0 h 2921109"/>
              <a:gd name="connsiteX1" fmla="*/ 8411266 w 8411783"/>
              <a:gd name="connsiteY1" fmla="*/ 0 h 2921109"/>
              <a:gd name="connsiteX2" fmla="*/ 8411265 w 8411783"/>
              <a:gd name="connsiteY2" fmla="*/ 2506997 h 2921109"/>
              <a:gd name="connsiteX3" fmla="*/ 7431649 w 8411783"/>
              <a:gd name="connsiteY3" fmla="*/ 2918516 h 2921109"/>
              <a:gd name="connsiteX4" fmla="*/ 0 w 8411783"/>
              <a:gd name="connsiteY4" fmla="*/ 2921109 h 2921109"/>
              <a:gd name="connsiteX5" fmla="*/ 0 w 8411783"/>
              <a:gd name="connsiteY5" fmla="*/ 0 h 2921109"/>
              <a:gd name="connsiteX0" fmla="*/ 0 w 8412159"/>
              <a:gd name="connsiteY0" fmla="*/ 0 h 2921109"/>
              <a:gd name="connsiteX1" fmla="*/ 8411266 w 8412159"/>
              <a:gd name="connsiteY1" fmla="*/ 0 h 2921109"/>
              <a:gd name="connsiteX2" fmla="*/ 8411265 w 8412159"/>
              <a:gd name="connsiteY2" fmla="*/ 2506997 h 2921109"/>
              <a:gd name="connsiteX3" fmla="*/ 7431649 w 8412159"/>
              <a:gd name="connsiteY3" fmla="*/ 2918516 h 2921109"/>
              <a:gd name="connsiteX4" fmla="*/ 0 w 8412159"/>
              <a:gd name="connsiteY4" fmla="*/ 2921109 h 2921109"/>
              <a:gd name="connsiteX5" fmla="*/ 0 w 8412159"/>
              <a:gd name="connsiteY5" fmla="*/ 0 h 2921109"/>
              <a:gd name="connsiteX0" fmla="*/ 13562 w 8412159"/>
              <a:gd name="connsiteY0" fmla="*/ 0 h 2921109"/>
              <a:gd name="connsiteX1" fmla="*/ 8411266 w 8412159"/>
              <a:gd name="connsiteY1" fmla="*/ 0 h 2921109"/>
              <a:gd name="connsiteX2" fmla="*/ 8411265 w 8412159"/>
              <a:gd name="connsiteY2" fmla="*/ 2506997 h 2921109"/>
              <a:gd name="connsiteX3" fmla="*/ 7431649 w 8412159"/>
              <a:gd name="connsiteY3" fmla="*/ 2918516 h 2921109"/>
              <a:gd name="connsiteX4" fmla="*/ 0 w 8412159"/>
              <a:gd name="connsiteY4" fmla="*/ 2921109 h 2921109"/>
              <a:gd name="connsiteX5" fmla="*/ 13562 w 8412159"/>
              <a:gd name="connsiteY5" fmla="*/ 0 h 2921109"/>
              <a:gd name="connsiteX0" fmla="*/ 13562 w 8415929"/>
              <a:gd name="connsiteY0" fmla="*/ 0 h 2922720"/>
              <a:gd name="connsiteX1" fmla="*/ 8411266 w 8415929"/>
              <a:gd name="connsiteY1" fmla="*/ 0 h 2922720"/>
              <a:gd name="connsiteX2" fmla="*/ 8411265 w 8415929"/>
              <a:gd name="connsiteY2" fmla="*/ 2506997 h 2922720"/>
              <a:gd name="connsiteX3" fmla="*/ 7514079 w 8415929"/>
              <a:gd name="connsiteY3" fmla="*/ 2922720 h 2922720"/>
              <a:gd name="connsiteX4" fmla="*/ 0 w 8415929"/>
              <a:gd name="connsiteY4" fmla="*/ 2921109 h 2922720"/>
              <a:gd name="connsiteX5" fmla="*/ 13562 w 8415929"/>
              <a:gd name="connsiteY5" fmla="*/ 0 h 2922720"/>
              <a:gd name="connsiteX0" fmla="*/ 13562 w 8415929"/>
              <a:gd name="connsiteY0" fmla="*/ 0 h 2922720"/>
              <a:gd name="connsiteX1" fmla="*/ 8411266 w 8415929"/>
              <a:gd name="connsiteY1" fmla="*/ 0 h 2922720"/>
              <a:gd name="connsiteX2" fmla="*/ 8411265 w 8415929"/>
              <a:gd name="connsiteY2" fmla="*/ 2481772 h 2922720"/>
              <a:gd name="connsiteX3" fmla="*/ 7514079 w 8415929"/>
              <a:gd name="connsiteY3" fmla="*/ 2922720 h 2922720"/>
              <a:gd name="connsiteX4" fmla="*/ 0 w 8415929"/>
              <a:gd name="connsiteY4" fmla="*/ 2921109 h 2922720"/>
              <a:gd name="connsiteX5" fmla="*/ 13562 w 8415929"/>
              <a:gd name="connsiteY5" fmla="*/ 0 h 2922720"/>
              <a:gd name="connsiteX0" fmla="*/ 13562 w 8414282"/>
              <a:gd name="connsiteY0" fmla="*/ 0 h 2922720"/>
              <a:gd name="connsiteX1" fmla="*/ 8411266 w 8414282"/>
              <a:gd name="connsiteY1" fmla="*/ 0 h 2922720"/>
              <a:gd name="connsiteX2" fmla="*/ 8411265 w 8414282"/>
              <a:gd name="connsiteY2" fmla="*/ 2481772 h 2922720"/>
              <a:gd name="connsiteX3" fmla="*/ 7514079 w 8414282"/>
              <a:gd name="connsiteY3" fmla="*/ 2922720 h 2922720"/>
              <a:gd name="connsiteX4" fmla="*/ 0 w 8414282"/>
              <a:gd name="connsiteY4" fmla="*/ 2921109 h 2922720"/>
              <a:gd name="connsiteX5" fmla="*/ 13562 w 8414282"/>
              <a:gd name="connsiteY5" fmla="*/ 0 h 2922720"/>
              <a:gd name="connsiteX0" fmla="*/ 13562 w 8418988"/>
              <a:gd name="connsiteY0" fmla="*/ 0 h 2926924"/>
              <a:gd name="connsiteX1" fmla="*/ 8411266 w 8418988"/>
              <a:gd name="connsiteY1" fmla="*/ 0 h 2926924"/>
              <a:gd name="connsiteX2" fmla="*/ 8411265 w 8418988"/>
              <a:gd name="connsiteY2" fmla="*/ 2481772 h 2926924"/>
              <a:gd name="connsiteX3" fmla="*/ 7567541 w 8418988"/>
              <a:gd name="connsiteY3" fmla="*/ 2926924 h 2926924"/>
              <a:gd name="connsiteX4" fmla="*/ 0 w 8418988"/>
              <a:gd name="connsiteY4" fmla="*/ 2921109 h 2926924"/>
              <a:gd name="connsiteX5" fmla="*/ 13562 w 8418988"/>
              <a:gd name="connsiteY5" fmla="*/ 0 h 2926924"/>
              <a:gd name="connsiteX0" fmla="*/ 13562 w 8411933"/>
              <a:gd name="connsiteY0" fmla="*/ 0 h 2926924"/>
              <a:gd name="connsiteX1" fmla="*/ 8411266 w 8411933"/>
              <a:gd name="connsiteY1" fmla="*/ 0 h 2926924"/>
              <a:gd name="connsiteX2" fmla="*/ 8411265 w 8411933"/>
              <a:gd name="connsiteY2" fmla="*/ 2481772 h 2926924"/>
              <a:gd name="connsiteX3" fmla="*/ 7567541 w 8411933"/>
              <a:gd name="connsiteY3" fmla="*/ 2926924 h 2926924"/>
              <a:gd name="connsiteX4" fmla="*/ 0 w 8411933"/>
              <a:gd name="connsiteY4" fmla="*/ 2921109 h 2926924"/>
              <a:gd name="connsiteX5" fmla="*/ 13562 w 8411933"/>
              <a:gd name="connsiteY5" fmla="*/ 0 h 2926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11933" h="2926924">
                <a:moveTo>
                  <a:pt x="13562" y="0"/>
                </a:moveTo>
                <a:lnTo>
                  <a:pt x="8411266" y="0"/>
                </a:lnTo>
                <a:cubicBezTo>
                  <a:pt x="8409473" y="746063"/>
                  <a:pt x="8413058" y="1735709"/>
                  <a:pt x="8411265" y="2481772"/>
                </a:cubicBezTo>
                <a:cubicBezTo>
                  <a:pt x="8416644" y="2478286"/>
                  <a:pt x="8409771" y="2899745"/>
                  <a:pt x="7567541" y="2926924"/>
                </a:cubicBezTo>
                <a:lnTo>
                  <a:pt x="0" y="2921109"/>
                </a:lnTo>
                <a:cubicBezTo>
                  <a:pt x="4521" y="1947406"/>
                  <a:pt x="9041" y="973703"/>
                  <a:pt x="13562" y="0"/>
                </a:cubicBezTo>
                <a:close/>
              </a:path>
            </a:pathLst>
          </a:custGeom>
        </p:spPr>
        <p:txBody>
          <a:bodyPr/>
          <a:lstStyle/>
          <a:p>
            <a:pPr marL="304778" marR="0" lvl="0" indent="-304778" algn="l" defTabSz="1219108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Picture</a:t>
            </a:r>
          </a:p>
        </p:txBody>
      </p: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11028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64590" y="6392072"/>
            <a:ext cx="2898337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sp>
        <p:nvSpPr>
          <p:cNvPr id="18" name="Marcador de texto 17"/>
          <p:cNvSpPr>
            <a:spLocks noGrp="1"/>
          </p:cNvSpPr>
          <p:nvPr>
            <p:ph type="body" sz="quarter" idx="18" hasCustomPrompt="1"/>
          </p:nvPr>
        </p:nvSpPr>
        <p:spPr>
          <a:xfrm>
            <a:off x="418089" y="5695951"/>
            <a:ext cx="11390913" cy="4931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8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7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6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943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131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32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5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0,5/Simple pt.</a:t>
            </a:r>
          </a:p>
        </p:txBody>
      </p:sp>
      <p:sp>
        <p:nvSpPr>
          <p:cNvPr id="10" name="Rectángulo 9"/>
          <p:cNvSpPr/>
          <p:nvPr userDrawn="1"/>
        </p:nvSpPr>
        <p:spPr>
          <a:xfrm>
            <a:off x="419581" y="1448657"/>
            <a:ext cx="4053137" cy="408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2" name="Marcador de texto 7"/>
          <p:cNvSpPr>
            <a:spLocks noGrp="1"/>
          </p:cNvSpPr>
          <p:nvPr>
            <p:ph type="body" sz="quarter" idx="19" hasCustomPrompt="1"/>
          </p:nvPr>
        </p:nvSpPr>
        <p:spPr>
          <a:xfrm>
            <a:off x="559861" y="1573652"/>
            <a:ext cx="3798899" cy="378018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buNone/>
              <a:defRPr sz="2200" baseline="0">
                <a:solidFill>
                  <a:schemeClr val="accent2"/>
                </a:solidFill>
              </a:defRPr>
            </a:lvl1pPr>
            <a:lvl2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2pPr>
            <a:lvl3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3pPr>
            <a:lvl4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4pPr>
            <a:lvl5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5pPr>
            <a:lvl6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6pPr>
            <a:lvl7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7pPr>
            <a:lvl8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8pPr>
            <a:lvl9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Highlight text is Arial Regular 16,5/Simple pt.</a:t>
            </a:r>
          </a:p>
        </p:txBody>
      </p:sp>
    </p:spTree>
    <p:extLst>
      <p:ext uri="{BB962C8B-B14F-4D97-AF65-F5344CB8AC3E}">
        <p14:creationId xmlns:p14="http://schemas.microsoft.com/office/powerpoint/2010/main" val="1346864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4" orient="horz" pos="65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ector recto 14"/>
          <p:cNvCxnSpPr/>
          <p:nvPr userDrawn="1"/>
        </p:nvCxnSpPr>
        <p:spPr>
          <a:xfrm>
            <a:off x="419101" y="6228783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pic>
        <p:nvPicPr>
          <p:cNvPr id="3" name="Imagen 2" descr="Logotipo&#10;&#10;Descripción generada automáticamente">
            <a:extLst>
              <a:ext uri="{FF2B5EF4-FFF2-40B4-BE49-F238E27FC236}">
                <a16:creationId xmlns:a16="http://schemas.microsoft.com/office/drawing/2014/main" id="{EBCF623A-BD6F-91DA-D15F-7FE6B2DD78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7520" y="0"/>
            <a:ext cx="2620355" cy="1275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728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4" orient="horz" pos="65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Conector recto 18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28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7" y="1693332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8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7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6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943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131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32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5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</p:spTree>
    <p:extLst>
      <p:ext uri="{BB962C8B-B14F-4D97-AF65-F5344CB8AC3E}">
        <p14:creationId xmlns:p14="http://schemas.microsoft.com/office/powerpoint/2010/main" val="2431731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dondear rectángulo de esquina sencilla 8"/>
          <p:cNvSpPr/>
          <p:nvPr userDrawn="1"/>
        </p:nvSpPr>
        <p:spPr>
          <a:xfrm rot="10800000" flipH="1">
            <a:off x="411028" y="1582204"/>
            <a:ext cx="11391139" cy="1967064"/>
          </a:xfrm>
          <a:prstGeom prst="round1Rect">
            <a:avLst>
              <a:gd name="adj" fmla="val 25120"/>
            </a:avLst>
          </a:prstGeom>
          <a:solidFill>
            <a:srgbClr val="00285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6282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sp>
        <p:nvSpPr>
          <p:cNvPr id="10" name="Título 1"/>
          <p:cNvSpPr>
            <a:spLocks noGrp="1"/>
          </p:cNvSpPr>
          <p:nvPr>
            <p:ph type="title" hasCustomPrompt="1"/>
          </p:nvPr>
        </p:nvSpPr>
        <p:spPr>
          <a:xfrm>
            <a:off x="411028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20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7" y="3725332"/>
            <a:ext cx="11372849" cy="24078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1pPr>
            <a:lvl2pPr marL="45718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7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6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943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131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32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5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3,5/Simple pt.</a:t>
            </a:r>
          </a:p>
        </p:txBody>
      </p:sp>
      <p:sp>
        <p:nvSpPr>
          <p:cNvPr id="23" name="Marcador de texto 7"/>
          <p:cNvSpPr>
            <a:spLocks noGrp="1"/>
          </p:cNvSpPr>
          <p:nvPr>
            <p:ph type="body" sz="quarter" idx="19" hasCustomPrompt="1"/>
          </p:nvPr>
        </p:nvSpPr>
        <p:spPr>
          <a:xfrm>
            <a:off x="541868" y="1697905"/>
            <a:ext cx="11057467" cy="16887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aseline="0">
                <a:solidFill>
                  <a:schemeClr val="accent2"/>
                </a:solidFill>
              </a:defRPr>
            </a:lvl1pPr>
            <a:lvl2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2pPr>
            <a:lvl3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3pPr>
            <a:lvl4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4pPr>
            <a:lvl5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5pPr>
            <a:lvl6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6pPr>
            <a:lvl7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7pPr>
            <a:lvl8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8pPr>
            <a:lvl9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Highlight text is Arial Regular 16,5/Simple pt.</a:t>
            </a:r>
          </a:p>
        </p:txBody>
      </p:sp>
    </p:spTree>
    <p:extLst>
      <p:ext uri="{BB962C8B-B14F-4D97-AF65-F5344CB8AC3E}">
        <p14:creationId xmlns:p14="http://schemas.microsoft.com/office/powerpoint/2010/main" val="6975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incipa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 descr="Una persona con una camiseta blanca&#10;&#10;Descripción generada automáticamente con confianza baja">
            <a:extLst>
              <a:ext uri="{FF2B5EF4-FFF2-40B4-BE49-F238E27FC236}">
                <a16:creationId xmlns:a16="http://schemas.microsoft.com/office/drawing/2014/main" id="{C107E77A-B7AF-2EDF-3F9E-E10924C1F6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0285591B-AFE2-3B79-CF42-C6439897FC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597" r="19800" b="17542"/>
          <a:stretch/>
        </p:blipFill>
        <p:spPr>
          <a:xfrm>
            <a:off x="10549263" y="5926412"/>
            <a:ext cx="1311153" cy="715020"/>
          </a:xfrm>
          <a:prstGeom prst="rect">
            <a:avLst/>
          </a:prstGeom>
        </p:spPr>
      </p:pic>
      <p:pic>
        <p:nvPicPr>
          <p:cNvPr id="2" name="Imagen 1" descr="Logotipo&#10;&#10;Descripción generada automáticamente">
            <a:extLst>
              <a:ext uri="{FF2B5EF4-FFF2-40B4-BE49-F238E27FC236}">
                <a16:creationId xmlns:a16="http://schemas.microsoft.com/office/drawing/2014/main" id="{9D846C4B-9999-6120-38B1-7E196EEB02A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838" y="6226111"/>
            <a:ext cx="1396005" cy="329709"/>
          </a:xfrm>
          <a:prstGeom prst="rect">
            <a:avLst/>
          </a:prstGeom>
        </p:spPr>
      </p:pic>
      <p:pic>
        <p:nvPicPr>
          <p:cNvPr id="4" name="Imagen 3" descr="Logotipo&#10;&#10;Descripción generada automáticamente">
            <a:extLst>
              <a:ext uri="{FF2B5EF4-FFF2-40B4-BE49-F238E27FC236}">
                <a16:creationId xmlns:a16="http://schemas.microsoft.com/office/drawing/2014/main" id="{34EA289B-178A-283D-3BF8-07C5A4F547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6983" y="0"/>
            <a:ext cx="3905017" cy="190095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9BD47BD3-39FF-4CC9-6C7C-F5AAD4158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305" y="3009848"/>
            <a:ext cx="4701703" cy="1069252"/>
          </a:xfrm>
        </p:spPr>
        <p:txBody>
          <a:bodyPr lIns="0" anchor="t" anchorCtr="0">
            <a:noAutofit/>
          </a:bodyPr>
          <a:lstStyle>
            <a:lvl1pPr>
              <a:defRPr sz="3200" b="1" i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err="1"/>
              <a:t>Título</a:t>
            </a:r>
            <a:r>
              <a:rPr lang="en-GB"/>
              <a:t> del </a:t>
            </a:r>
            <a:r>
              <a:rPr lang="en-GB" err="1"/>
              <a:t>caso</a:t>
            </a:r>
            <a:r>
              <a:rPr lang="en-GB"/>
              <a:t> </a:t>
            </a:r>
            <a:r>
              <a:rPr lang="en-GB" err="1"/>
              <a:t>clínico</a:t>
            </a:r>
            <a:r>
              <a:rPr lang="en-GB"/>
              <a:t> Arial 32pt</a:t>
            </a:r>
            <a:endParaRPr lang="en-E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90B5A13-F225-B531-9A1F-0CA714B73AEF}"/>
              </a:ext>
            </a:extLst>
          </p:cNvPr>
          <p:cNvSpPr txBox="1">
            <a:spLocks/>
          </p:cNvSpPr>
          <p:nvPr userDrawn="1"/>
        </p:nvSpPr>
        <p:spPr>
          <a:xfrm>
            <a:off x="6180305" y="2531050"/>
            <a:ext cx="4701703" cy="354121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00285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2400">
                <a:solidFill>
                  <a:srgbClr val="E93C3D"/>
                </a:solidFill>
              </a:rPr>
              <a:t>CASO CLÍNICO</a:t>
            </a:r>
            <a:endParaRPr lang="en-ES" sz="2400">
              <a:solidFill>
                <a:srgbClr val="E93C3D"/>
              </a:solidFill>
            </a:endParaRP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D6392CF-3E6C-5DBD-7285-FD3788A957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0305" y="4230848"/>
            <a:ext cx="4701703" cy="235250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Nombre</a:t>
            </a:r>
            <a:r>
              <a:rPr lang="en-GB"/>
              <a:t> y </a:t>
            </a:r>
            <a:r>
              <a:rPr lang="en-GB" err="1"/>
              <a:t>Apellidos</a:t>
            </a:r>
            <a:endParaRPr lang="en-GB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36B2781A-3BF2-8EFC-DCA9-7B2AC57FC2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0305" y="4528559"/>
            <a:ext cx="4701703" cy="235250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Nombre</a:t>
            </a:r>
            <a:r>
              <a:rPr lang="en-GB"/>
              <a:t> del Hospital</a:t>
            </a:r>
          </a:p>
        </p:txBody>
      </p:sp>
    </p:spTree>
    <p:extLst>
      <p:ext uri="{BB962C8B-B14F-4D97-AF65-F5344CB8AC3E}">
        <p14:creationId xmlns:p14="http://schemas.microsoft.com/office/powerpoint/2010/main" val="3165465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6282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sp>
        <p:nvSpPr>
          <p:cNvPr id="4" name="Marcador de texto 3"/>
          <p:cNvSpPr>
            <a:spLocks noGrp="1"/>
          </p:cNvSpPr>
          <p:nvPr>
            <p:ph type="body" sz="quarter" idx="26" hasCustomPrompt="1"/>
          </p:nvPr>
        </p:nvSpPr>
        <p:spPr>
          <a:xfrm>
            <a:off x="419101" y="3882301"/>
            <a:ext cx="11394017" cy="2235088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0000"/>
              <a:buFont typeface="Arial" charset="0"/>
              <a:buChar char="•"/>
              <a:defRPr sz="1800" baseline="0">
                <a:solidFill>
                  <a:schemeClr val="accent1"/>
                </a:solidFill>
              </a:defRPr>
            </a:lvl1pPr>
            <a:lvl2pPr marL="685783" indent="-228594"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2pPr>
            <a:lvl3pPr marL="1142971" indent="-228594"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3pPr>
            <a:lvl4pPr marL="1600160" indent="-228594"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4pPr>
            <a:lvl5pPr marL="2057349" indent="-228594"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5pPr>
            <a:lvl6pPr marL="2514537" indent="-228594">
              <a:buClr>
                <a:schemeClr val="accent1"/>
              </a:buClr>
              <a:buSzPct val="50000"/>
              <a:buFont typeface="Arial" charset="0"/>
              <a:buChar char="•"/>
              <a:defRPr>
                <a:solidFill>
                  <a:schemeClr val="accent1"/>
                </a:solidFill>
              </a:defRPr>
            </a:lvl6pPr>
            <a:lvl7pPr marL="2971726" indent="-228594">
              <a:buClr>
                <a:schemeClr val="accent1"/>
              </a:buClr>
              <a:buSzPct val="50000"/>
              <a:buFont typeface="Arial" charset="0"/>
              <a:buChar char="•"/>
              <a:defRPr>
                <a:solidFill>
                  <a:schemeClr val="accent1"/>
                </a:solidFill>
              </a:defRPr>
            </a:lvl7pPr>
            <a:lvl8pPr marL="3428914" indent="-228594">
              <a:buClr>
                <a:schemeClr val="accent1"/>
              </a:buClr>
              <a:buSzPct val="50000"/>
              <a:buFont typeface="Arial" charset="0"/>
              <a:buChar char="•"/>
              <a:defRPr>
                <a:solidFill>
                  <a:schemeClr val="accent1"/>
                </a:solidFill>
              </a:defRPr>
            </a:lvl8pPr>
            <a:lvl9pPr marL="3886103" indent="-228594">
              <a:buClr>
                <a:schemeClr val="accent1"/>
              </a:buClr>
              <a:buSzPct val="50000"/>
              <a:buFont typeface="Arial" charset="0"/>
              <a:buChar char="•"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3,5/Simple pt.</a:t>
            </a:r>
          </a:p>
        </p:txBody>
      </p:sp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28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11" name="Redondear rectángulo de esquina sencilla 10"/>
          <p:cNvSpPr/>
          <p:nvPr userDrawn="1"/>
        </p:nvSpPr>
        <p:spPr>
          <a:xfrm rot="10800000" flipH="1">
            <a:off x="411028" y="1582204"/>
            <a:ext cx="11391139" cy="1967064"/>
          </a:xfrm>
          <a:prstGeom prst="round1Rect">
            <a:avLst>
              <a:gd name="adj" fmla="val 25120"/>
            </a:avLst>
          </a:prstGeom>
          <a:solidFill>
            <a:srgbClr val="00285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7" name="Marcador de texto 7"/>
          <p:cNvSpPr>
            <a:spLocks noGrp="1"/>
          </p:cNvSpPr>
          <p:nvPr>
            <p:ph type="body" sz="quarter" idx="19" hasCustomPrompt="1"/>
          </p:nvPr>
        </p:nvSpPr>
        <p:spPr>
          <a:xfrm>
            <a:off x="541868" y="1697905"/>
            <a:ext cx="11057467" cy="1688763"/>
          </a:xfrm>
          <a:prstGeom prst="rect">
            <a:avLst/>
          </a:prstGeom>
        </p:spPr>
        <p:txBody>
          <a:bodyPr lIns="0" tIns="0" rIns="0" bIns="0"/>
          <a:lstStyle>
            <a:lvl1pPr marL="0" indent="-331192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2200" baseline="0">
                <a:solidFill>
                  <a:schemeClr val="accent2"/>
                </a:solidFill>
              </a:defRPr>
            </a:lvl1pPr>
            <a:lvl2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2pPr>
            <a:lvl3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3pPr>
            <a:lvl4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4pPr>
            <a:lvl5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5pPr>
            <a:lvl6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6pPr>
            <a:lvl7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7pPr>
            <a:lvl8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8pPr>
            <a:lvl9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Highlight text is Arial Regular 16,5/Simple pt.</a:t>
            </a:r>
          </a:p>
        </p:txBody>
      </p:sp>
    </p:spTree>
    <p:extLst>
      <p:ext uri="{BB962C8B-B14F-4D97-AF65-F5344CB8AC3E}">
        <p14:creationId xmlns:p14="http://schemas.microsoft.com/office/powerpoint/2010/main" val="2701064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_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dondear rectángulo de esquina sencilla 11"/>
          <p:cNvSpPr/>
          <p:nvPr userDrawn="1"/>
        </p:nvSpPr>
        <p:spPr>
          <a:xfrm rot="10800000" flipH="1">
            <a:off x="411028" y="1582204"/>
            <a:ext cx="11391139" cy="1967064"/>
          </a:xfrm>
          <a:prstGeom prst="round1Rect">
            <a:avLst>
              <a:gd name="adj" fmla="val 25120"/>
            </a:avLst>
          </a:prstGeom>
          <a:solidFill>
            <a:srgbClr val="00285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6282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sp>
        <p:nvSpPr>
          <p:cNvPr id="11" name="Marcador de texto 12"/>
          <p:cNvSpPr>
            <a:spLocks noGrp="1"/>
          </p:cNvSpPr>
          <p:nvPr>
            <p:ph type="body" sz="quarter" idx="23" hasCustomPrompt="1"/>
          </p:nvPr>
        </p:nvSpPr>
        <p:spPr>
          <a:xfrm>
            <a:off x="413440" y="3878019"/>
            <a:ext cx="11390843" cy="2251848"/>
          </a:xfrm>
          <a:prstGeom prst="rect">
            <a:avLst/>
          </a:prstGeom>
        </p:spPr>
        <p:txBody>
          <a:bodyPr wrap="square" lIns="0" tIns="0" rIns="0" bIns="0" numCol="2" spcCol="108000">
            <a:noAutofit/>
          </a:bodyPr>
          <a:lstStyle>
            <a:lvl1pPr marL="239994" indent="-222245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0000"/>
              <a:buFont typeface="Arial" charset="0"/>
              <a:buChar char="•"/>
              <a:tabLst/>
              <a:defRPr sz="1800" baseline="0">
                <a:solidFill>
                  <a:schemeClr val="accent1"/>
                </a:solidFill>
              </a:defRPr>
            </a:lvl1pPr>
            <a:lvl2pPr marL="239994" indent="-239994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2pPr>
            <a:lvl3pPr marL="239994" indent="-239994">
              <a:lnSpc>
                <a:spcPts val="2933"/>
              </a:lnSpc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3pPr>
            <a:lvl4pPr marL="239994" indent="-239994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4pPr>
            <a:lvl5pPr marL="239994" indent="-239994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5pPr>
            <a:lvl6pPr marL="239994" indent="-239994">
              <a:lnSpc>
                <a:spcPts val="2933"/>
              </a:lnSpc>
              <a:buClr>
                <a:schemeClr val="accent1"/>
              </a:buClr>
              <a:buSzPct val="50000"/>
              <a:buFont typeface="Arial" charset="0"/>
              <a:buChar char="•"/>
              <a:defRPr sz="2400">
                <a:solidFill>
                  <a:schemeClr val="accent1"/>
                </a:solidFill>
              </a:defRPr>
            </a:lvl6pPr>
            <a:lvl7pPr marL="239994" indent="-239994">
              <a:lnSpc>
                <a:spcPts val="2933"/>
              </a:lnSpc>
              <a:buClr>
                <a:schemeClr val="tx1"/>
              </a:buClr>
              <a:buSzPct val="50000"/>
              <a:buFont typeface="Arial" charset="0"/>
              <a:buChar char="•"/>
              <a:defRPr sz="2400">
                <a:solidFill>
                  <a:schemeClr val="tx1"/>
                </a:solidFill>
              </a:defRPr>
            </a:lvl7pPr>
            <a:lvl8pPr marL="239994" indent="-239994">
              <a:lnSpc>
                <a:spcPct val="100000"/>
              </a:lnSpc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8pPr>
            <a:lvl9pPr marL="239994" indent="-239994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0000"/>
              <a:buFont typeface="Arial" charset="0"/>
              <a:buChar char="•"/>
              <a:defRPr sz="1800" baseline="0">
                <a:solidFill>
                  <a:schemeClr val="accent1"/>
                </a:solidFill>
              </a:defRPr>
            </a:lvl9pPr>
          </a:lstStyle>
          <a:p>
            <a:pPr lvl="8"/>
            <a:r>
              <a:rPr lang="en-US" noProof="0"/>
              <a:t>Body copy is Arial Regular 13,5/Simple pt.</a:t>
            </a:r>
          </a:p>
        </p:txBody>
      </p:sp>
      <p:sp>
        <p:nvSpPr>
          <p:cNvPr id="10" name="Título 1"/>
          <p:cNvSpPr>
            <a:spLocks noGrp="1"/>
          </p:cNvSpPr>
          <p:nvPr>
            <p:ph type="title" hasCustomPrompt="1"/>
          </p:nvPr>
        </p:nvSpPr>
        <p:spPr>
          <a:xfrm>
            <a:off x="411028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18" name="Marcador de texto 7"/>
          <p:cNvSpPr>
            <a:spLocks noGrp="1"/>
          </p:cNvSpPr>
          <p:nvPr>
            <p:ph type="body" sz="quarter" idx="19" hasCustomPrompt="1"/>
          </p:nvPr>
        </p:nvSpPr>
        <p:spPr>
          <a:xfrm>
            <a:off x="541868" y="1697905"/>
            <a:ext cx="11057467" cy="1688763"/>
          </a:xfrm>
          <a:prstGeom prst="rect">
            <a:avLst/>
          </a:prstGeom>
        </p:spPr>
        <p:txBody>
          <a:bodyPr lIns="0" tIns="0" rIns="0" bIns="0"/>
          <a:lstStyle>
            <a:lvl1pPr marL="0" indent="-331192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2200" baseline="0">
                <a:solidFill>
                  <a:schemeClr val="accent2"/>
                </a:solidFill>
              </a:defRPr>
            </a:lvl1pPr>
            <a:lvl2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2pPr>
            <a:lvl3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3pPr>
            <a:lvl4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4pPr>
            <a:lvl5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5pPr>
            <a:lvl6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6pPr>
            <a:lvl7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7pPr>
            <a:lvl8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8pPr>
            <a:lvl9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Highlight text is Arial Regular 16,5/Simple pt.</a:t>
            </a:r>
          </a:p>
        </p:txBody>
      </p:sp>
    </p:spTree>
    <p:extLst>
      <p:ext uri="{BB962C8B-B14F-4D97-AF65-F5344CB8AC3E}">
        <p14:creationId xmlns:p14="http://schemas.microsoft.com/office/powerpoint/2010/main" val="470806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814917" y="300038"/>
            <a:ext cx="10363200" cy="742951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14917" y="1447801"/>
            <a:ext cx="10363200" cy="47037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7868292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xt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imagen 7"/>
          <p:cNvSpPr>
            <a:spLocks noGrp="1"/>
          </p:cNvSpPr>
          <p:nvPr>
            <p:ph type="pic" sz="quarter" idx="15"/>
          </p:nvPr>
        </p:nvSpPr>
        <p:spPr>
          <a:xfrm>
            <a:off x="416789" y="1381692"/>
            <a:ext cx="11394016" cy="4094619"/>
          </a:xfrm>
          <a:custGeom>
            <a:avLst/>
            <a:gdLst>
              <a:gd name="connsiteX0" fmla="*/ 0 w 8411266"/>
              <a:gd name="connsiteY0" fmla="*/ 0 h 2915921"/>
              <a:gd name="connsiteX1" fmla="*/ 8411266 w 8411266"/>
              <a:gd name="connsiteY1" fmla="*/ 0 h 2915921"/>
              <a:gd name="connsiteX2" fmla="*/ 8411266 w 8411266"/>
              <a:gd name="connsiteY2" fmla="*/ 2915921 h 2915921"/>
              <a:gd name="connsiteX3" fmla="*/ 0 w 8411266"/>
              <a:gd name="connsiteY3" fmla="*/ 2915921 h 2915921"/>
              <a:gd name="connsiteX4" fmla="*/ 0 w 8411266"/>
              <a:gd name="connsiteY4" fmla="*/ 0 h 2915921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11266 w 8411266"/>
              <a:gd name="connsiteY2" fmla="*/ 2915921 h 2915922"/>
              <a:gd name="connsiteX3" fmla="*/ 7668987 w 8411266"/>
              <a:gd name="connsiteY3" fmla="*/ 2915922 h 2915922"/>
              <a:gd name="connsiteX4" fmla="*/ 0 w 8411266"/>
              <a:gd name="connsiteY4" fmla="*/ 2915921 h 2915922"/>
              <a:gd name="connsiteX5" fmla="*/ 0 w 8411266"/>
              <a:gd name="connsiteY5" fmla="*/ 0 h 2915922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05886 w 8411266"/>
              <a:gd name="connsiteY2" fmla="*/ 2238189 h 2915922"/>
              <a:gd name="connsiteX3" fmla="*/ 8411266 w 8411266"/>
              <a:gd name="connsiteY3" fmla="*/ 2915921 h 2915922"/>
              <a:gd name="connsiteX4" fmla="*/ 7668987 w 8411266"/>
              <a:gd name="connsiteY4" fmla="*/ 2915922 h 2915922"/>
              <a:gd name="connsiteX5" fmla="*/ 0 w 8411266"/>
              <a:gd name="connsiteY5" fmla="*/ 2915921 h 2915922"/>
              <a:gd name="connsiteX6" fmla="*/ 0 w 8411266"/>
              <a:gd name="connsiteY6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8411266 w 8411782"/>
              <a:gd name="connsiteY3" fmla="*/ 2915921 h 2915922"/>
              <a:gd name="connsiteX4" fmla="*/ 7668987 w 8411782"/>
              <a:gd name="connsiteY4" fmla="*/ 2915922 h 2915922"/>
              <a:gd name="connsiteX5" fmla="*/ 0 w 8411782"/>
              <a:gd name="connsiteY5" fmla="*/ 2915921 h 2915922"/>
              <a:gd name="connsiteX6" fmla="*/ 0 w 8411782"/>
              <a:gd name="connsiteY6" fmla="*/ 0 h 2915922"/>
              <a:gd name="connsiteX0" fmla="*/ 0 w 8519559"/>
              <a:gd name="connsiteY0" fmla="*/ 0 h 2915922"/>
              <a:gd name="connsiteX1" fmla="*/ 8411266 w 8519559"/>
              <a:gd name="connsiteY1" fmla="*/ 0 h 2915922"/>
              <a:gd name="connsiteX2" fmla="*/ 8411265 w 8519559"/>
              <a:gd name="connsiteY2" fmla="*/ 2211294 h 2915922"/>
              <a:gd name="connsiteX3" fmla="*/ 7668987 w 8519559"/>
              <a:gd name="connsiteY3" fmla="*/ 2915922 h 2915922"/>
              <a:gd name="connsiteX4" fmla="*/ 0 w 8519559"/>
              <a:gd name="connsiteY4" fmla="*/ 2915921 h 2915922"/>
              <a:gd name="connsiteX5" fmla="*/ 0 w 8519559"/>
              <a:gd name="connsiteY5" fmla="*/ 0 h 2915922"/>
              <a:gd name="connsiteX0" fmla="*/ 0 w 8568374"/>
              <a:gd name="connsiteY0" fmla="*/ 0 h 2915922"/>
              <a:gd name="connsiteX1" fmla="*/ 8411266 w 8568374"/>
              <a:gd name="connsiteY1" fmla="*/ 0 h 2915922"/>
              <a:gd name="connsiteX2" fmla="*/ 8411265 w 8568374"/>
              <a:gd name="connsiteY2" fmla="*/ 2211294 h 2915922"/>
              <a:gd name="connsiteX3" fmla="*/ 7668987 w 8568374"/>
              <a:gd name="connsiteY3" fmla="*/ 2915922 h 2915922"/>
              <a:gd name="connsiteX4" fmla="*/ 0 w 8568374"/>
              <a:gd name="connsiteY4" fmla="*/ 2915921 h 2915922"/>
              <a:gd name="connsiteX5" fmla="*/ 0 w 8568374"/>
              <a:gd name="connsiteY5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7668987 w 8411782"/>
              <a:gd name="connsiteY3" fmla="*/ 2915922 h 2915922"/>
              <a:gd name="connsiteX4" fmla="*/ 0 w 8411782"/>
              <a:gd name="connsiteY4" fmla="*/ 2915921 h 2915922"/>
              <a:gd name="connsiteX5" fmla="*/ 0 w 8411782"/>
              <a:gd name="connsiteY5" fmla="*/ 0 h 2915922"/>
              <a:gd name="connsiteX0" fmla="*/ 0 w 8432652"/>
              <a:gd name="connsiteY0" fmla="*/ 0 h 2915922"/>
              <a:gd name="connsiteX1" fmla="*/ 8411266 w 8432652"/>
              <a:gd name="connsiteY1" fmla="*/ 0 h 2915922"/>
              <a:gd name="connsiteX2" fmla="*/ 8411265 w 8432652"/>
              <a:gd name="connsiteY2" fmla="*/ 2211294 h 2915922"/>
              <a:gd name="connsiteX3" fmla="*/ 7868409 w 8432652"/>
              <a:gd name="connsiteY3" fmla="*/ 2915922 h 2915922"/>
              <a:gd name="connsiteX4" fmla="*/ 0 w 8432652"/>
              <a:gd name="connsiteY4" fmla="*/ 2915921 h 2915922"/>
              <a:gd name="connsiteX5" fmla="*/ 0 w 8432652"/>
              <a:gd name="connsiteY5" fmla="*/ 0 h 2915922"/>
              <a:gd name="connsiteX0" fmla="*/ 0 w 8436700"/>
              <a:gd name="connsiteY0" fmla="*/ 0 h 2915922"/>
              <a:gd name="connsiteX1" fmla="*/ 8411266 w 8436700"/>
              <a:gd name="connsiteY1" fmla="*/ 0 h 2915922"/>
              <a:gd name="connsiteX2" fmla="*/ 8416654 w 8436700"/>
              <a:gd name="connsiteY2" fmla="*/ 2414055 h 2915922"/>
              <a:gd name="connsiteX3" fmla="*/ 7868409 w 8436700"/>
              <a:gd name="connsiteY3" fmla="*/ 2915922 h 2915922"/>
              <a:gd name="connsiteX4" fmla="*/ 0 w 8436700"/>
              <a:gd name="connsiteY4" fmla="*/ 2915921 h 2915922"/>
              <a:gd name="connsiteX5" fmla="*/ 0 w 8436700"/>
              <a:gd name="connsiteY5" fmla="*/ 0 h 2915922"/>
              <a:gd name="connsiteX0" fmla="*/ 0 w 8416921"/>
              <a:gd name="connsiteY0" fmla="*/ 0 h 2916199"/>
              <a:gd name="connsiteX1" fmla="*/ 8411266 w 8416921"/>
              <a:gd name="connsiteY1" fmla="*/ 0 h 2916199"/>
              <a:gd name="connsiteX2" fmla="*/ 8416654 w 8416921"/>
              <a:gd name="connsiteY2" fmla="*/ 2414055 h 2916199"/>
              <a:gd name="connsiteX3" fmla="*/ 7868409 w 8416921"/>
              <a:gd name="connsiteY3" fmla="*/ 2915922 h 2916199"/>
              <a:gd name="connsiteX4" fmla="*/ 0 w 8416921"/>
              <a:gd name="connsiteY4" fmla="*/ 2915921 h 2916199"/>
              <a:gd name="connsiteX5" fmla="*/ 0 w 8416921"/>
              <a:gd name="connsiteY5" fmla="*/ 0 h 2916199"/>
              <a:gd name="connsiteX0" fmla="*/ 0 w 8411781"/>
              <a:gd name="connsiteY0" fmla="*/ 0 h 2916229"/>
              <a:gd name="connsiteX1" fmla="*/ 8411266 w 8411781"/>
              <a:gd name="connsiteY1" fmla="*/ 0 h 2916229"/>
              <a:gd name="connsiteX2" fmla="*/ 8411264 w 8411781"/>
              <a:gd name="connsiteY2" fmla="*/ 2466045 h 2916229"/>
              <a:gd name="connsiteX3" fmla="*/ 7868409 w 8411781"/>
              <a:gd name="connsiteY3" fmla="*/ 2915922 h 2916229"/>
              <a:gd name="connsiteX4" fmla="*/ 0 w 8411781"/>
              <a:gd name="connsiteY4" fmla="*/ 2915921 h 2916229"/>
              <a:gd name="connsiteX5" fmla="*/ 0 w 8411781"/>
              <a:gd name="connsiteY5" fmla="*/ 0 h 2916229"/>
              <a:gd name="connsiteX0" fmla="*/ 0 w 8411781"/>
              <a:gd name="connsiteY0" fmla="*/ 0 h 2915922"/>
              <a:gd name="connsiteX1" fmla="*/ 8411266 w 8411781"/>
              <a:gd name="connsiteY1" fmla="*/ 0 h 2915922"/>
              <a:gd name="connsiteX2" fmla="*/ 8411264 w 8411781"/>
              <a:gd name="connsiteY2" fmla="*/ 2466045 h 2915922"/>
              <a:gd name="connsiteX3" fmla="*/ 7868409 w 8411781"/>
              <a:gd name="connsiteY3" fmla="*/ 2915922 h 2915922"/>
              <a:gd name="connsiteX4" fmla="*/ 0 w 8411781"/>
              <a:gd name="connsiteY4" fmla="*/ 2915921 h 2915922"/>
              <a:gd name="connsiteX5" fmla="*/ 0 w 8411781"/>
              <a:gd name="connsiteY5" fmla="*/ 0 h 2915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11781" h="2915922">
                <a:moveTo>
                  <a:pt x="0" y="0"/>
                </a:moveTo>
                <a:lnTo>
                  <a:pt x="8411266" y="0"/>
                </a:lnTo>
                <a:cubicBezTo>
                  <a:pt x="8409473" y="746063"/>
                  <a:pt x="8413057" y="1719982"/>
                  <a:pt x="8411264" y="2466045"/>
                </a:cubicBezTo>
                <a:cubicBezTo>
                  <a:pt x="8416643" y="2462559"/>
                  <a:pt x="8328468" y="2914301"/>
                  <a:pt x="7868409" y="2915922"/>
                </a:cubicBezTo>
                <a:lnTo>
                  <a:pt x="0" y="2915921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64592" y="6392072"/>
            <a:ext cx="2898337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s-ES_tradnl" err="1"/>
              <a:t>Deck</a:t>
            </a:r>
            <a:r>
              <a:rPr lang="es-ES_tradnl"/>
              <a:t> </a:t>
            </a:r>
            <a:r>
              <a:rPr lang="es-ES_tradnl" err="1"/>
              <a:t>title</a:t>
            </a:r>
            <a:endParaRPr lang="es-ES_tradnl"/>
          </a:p>
        </p:txBody>
      </p:sp>
      <p:sp>
        <p:nvSpPr>
          <p:cNvPr id="13" name="Marcador de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825521" y="2778280"/>
            <a:ext cx="5241279" cy="15363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</a:defRPr>
            </a:lvl1pPr>
            <a:lvl2pPr marL="609539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07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15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Highlight</a:t>
            </a:r>
            <a:r>
              <a:rPr lang="es-ES_tradnl"/>
              <a:t>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16,5/Simple pt </a:t>
            </a:r>
            <a:r>
              <a:rPr lang="es-ES_tradnl" err="1"/>
              <a:t>consecterur</a:t>
            </a:r>
            <a:r>
              <a:rPr lang="es-ES_tradnl"/>
              <a:t> </a:t>
            </a:r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vestibulum</a:t>
            </a:r>
            <a:r>
              <a:rPr lang="es-ES_tradnl"/>
              <a:t> a et urna.</a:t>
            </a:r>
          </a:p>
        </p:txBody>
      </p:sp>
      <p:sp>
        <p:nvSpPr>
          <p:cNvPr id="12" name="Marcador de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02091" y="5694854"/>
            <a:ext cx="11247967" cy="4952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chemeClr val="accent1"/>
                </a:solidFill>
              </a:defRPr>
            </a:lvl1pPr>
            <a:lvl2pPr marL="609539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07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15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Body</a:t>
            </a:r>
            <a:r>
              <a:rPr lang="es-ES_tradnl"/>
              <a:t> </a:t>
            </a:r>
            <a:r>
              <a:rPr lang="es-ES_tradnl" err="1"/>
              <a:t>cop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10,5/Simple pt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cm</a:t>
            </a:r>
            <a:r>
              <a:rPr lang="es-ES_tradnl"/>
              <a:t> dolor </a:t>
            </a:r>
            <a:r>
              <a:rPr lang="es-ES_tradnl" err="1"/>
              <a:t>sit</a:t>
            </a:r>
            <a:r>
              <a:rPr lang="es-ES_tradnl"/>
              <a:t> </a:t>
            </a:r>
            <a:r>
              <a:rPr lang="es-ES_tradnl" err="1"/>
              <a:t>amet</a:t>
            </a:r>
            <a:r>
              <a:rPr lang="es-ES_tradnl"/>
              <a:t>,</a:t>
            </a:r>
          </a:p>
          <a:p>
            <a:pPr lvl="0"/>
            <a:r>
              <a:rPr lang="es-ES_tradnl" err="1"/>
              <a:t>Consectetur</a:t>
            </a:r>
            <a:r>
              <a:rPr lang="es-ES_tradnl"/>
              <a:t> </a:t>
            </a:r>
            <a:r>
              <a:rPr lang="es-ES_tradnl" err="1"/>
              <a:t>adipiscing</a:t>
            </a:r>
            <a:r>
              <a:rPr lang="es-ES_tradnl"/>
              <a:t> </a:t>
            </a:r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est</a:t>
            </a:r>
            <a:r>
              <a:rPr lang="es-ES_tradnl"/>
              <a:t> et urna.</a:t>
            </a:r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425961" y="346558"/>
            <a:ext cx="11325656" cy="9827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933" baseline="0">
                <a:solidFill>
                  <a:schemeClr val="accent1"/>
                </a:solidFill>
              </a:defRPr>
            </a:lvl1pPr>
            <a:lvl2pPr marL="609539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07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15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Slide</a:t>
            </a:r>
            <a:r>
              <a:rPr lang="es-ES_tradnl"/>
              <a:t>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22/Simple pt.</a:t>
            </a: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2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3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11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4" orient="horz" pos="65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imagen 7"/>
          <p:cNvSpPr>
            <a:spLocks noGrp="1"/>
          </p:cNvSpPr>
          <p:nvPr>
            <p:ph type="pic" sz="quarter" idx="15"/>
          </p:nvPr>
        </p:nvSpPr>
        <p:spPr>
          <a:xfrm>
            <a:off x="416789" y="1381692"/>
            <a:ext cx="11394016" cy="4094619"/>
          </a:xfrm>
          <a:custGeom>
            <a:avLst/>
            <a:gdLst>
              <a:gd name="connsiteX0" fmla="*/ 0 w 8411266"/>
              <a:gd name="connsiteY0" fmla="*/ 0 h 2915921"/>
              <a:gd name="connsiteX1" fmla="*/ 8411266 w 8411266"/>
              <a:gd name="connsiteY1" fmla="*/ 0 h 2915921"/>
              <a:gd name="connsiteX2" fmla="*/ 8411266 w 8411266"/>
              <a:gd name="connsiteY2" fmla="*/ 2915921 h 2915921"/>
              <a:gd name="connsiteX3" fmla="*/ 0 w 8411266"/>
              <a:gd name="connsiteY3" fmla="*/ 2915921 h 2915921"/>
              <a:gd name="connsiteX4" fmla="*/ 0 w 8411266"/>
              <a:gd name="connsiteY4" fmla="*/ 0 h 2915921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11266 w 8411266"/>
              <a:gd name="connsiteY2" fmla="*/ 2915921 h 2915922"/>
              <a:gd name="connsiteX3" fmla="*/ 7668987 w 8411266"/>
              <a:gd name="connsiteY3" fmla="*/ 2915922 h 2915922"/>
              <a:gd name="connsiteX4" fmla="*/ 0 w 8411266"/>
              <a:gd name="connsiteY4" fmla="*/ 2915921 h 2915922"/>
              <a:gd name="connsiteX5" fmla="*/ 0 w 8411266"/>
              <a:gd name="connsiteY5" fmla="*/ 0 h 2915922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05886 w 8411266"/>
              <a:gd name="connsiteY2" fmla="*/ 2238189 h 2915922"/>
              <a:gd name="connsiteX3" fmla="*/ 8411266 w 8411266"/>
              <a:gd name="connsiteY3" fmla="*/ 2915921 h 2915922"/>
              <a:gd name="connsiteX4" fmla="*/ 7668987 w 8411266"/>
              <a:gd name="connsiteY4" fmla="*/ 2915922 h 2915922"/>
              <a:gd name="connsiteX5" fmla="*/ 0 w 8411266"/>
              <a:gd name="connsiteY5" fmla="*/ 2915921 h 2915922"/>
              <a:gd name="connsiteX6" fmla="*/ 0 w 8411266"/>
              <a:gd name="connsiteY6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8411266 w 8411782"/>
              <a:gd name="connsiteY3" fmla="*/ 2915921 h 2915922"/>
              <a:gd name="connsiteX4" fmla="*/ 7668987 w 8411782"/>
              <a:gd name="connsiteY4" fmla="*/ 2915922 h 2915922"/>
              <a:gd name="connsiteX5" fmla="*/ 0 w 8411782"/>
              <a:gd name="connsiteY5" fmla="*/ 2915921 h 2915922"/>
              <a:gd name="connsiteX6" fmla="*/ 0 w 8411782"/>
              <a:gd name="connsiteY6" fmla="*/ 0 h 2915922"/>
              <a:gd name="connsiteX0" fmla="*/ 0 w 8519559"/>
              <a:gd name="connsiteY0" fmla="*/ 0 h 2915922"/>
              <a:gd name="connsiteX1" fmla="*/ 8411266 w 8519559"/>
              <a:gd name="connsiteY1" fmla="*/ 0 h 2915922"/>
              <a:gd name="connsiteX2" fmla="*/ 8411265 w 8519559"/>
              <a:gd name="connsiteY2" fmla="*/ 2211294 h 2915922"/>
              <a:gd name="connsiteX3" fmla="*/ 7668987 w 8519559"/>
              <a:gd name="connsiteY3" fmla="*/ 2915922 h 2915922"/>
              <a:gd name="connsiteX4" fmla="*/ 0 w 8519559"/>
              <a:gd name="connsiteY4" fmla="*/ 2915921 h 2915922"/>
              <a:gd name="connsiteX5" fmla="*/ 0 w 8519559"/>
              <a:gd name="connsiteY5" fmla="*/ 0 h 2915922"/>
              <a:gd name="connsiteX0" fmla="*/ 0 w 8568374"/>
              <a:gd name="connsiteY0" fmla="*/ 0 h 2915922"/>
              <a:gd name="connsiteX1" fmla="*/ 8411266 w 8568374"/>
              <a:gd name="connsiteY1" fmla="*/ 0 h 2915922"/>
              <a:gd name="connsiteX2" fmla="*/ 8411265 w 8568374"/>
              <a:gd name="connsiteY2" fmla="*/ 2211294 h 2915922"/>
              <a:gd name="connsiteX3" fmla="*/ 7668987 w 8568374"/>
              <a:gd name="connsiteY3" fmla="*/ 2915922 h 2915922"/>
              <a:gd name="connsiteX4" fmla="*/ 0 w 8568374"/>
              <a:gd name="connsiteY4" fmla="*/ 2915921 h 2915922"/>
              <a:gd name="connsiteX5" fmla="*/ 0 w 8568374"/>
              <a:gd name="connsiteY5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7668987 w 8411782"/>
              <a:gd name="connsiteY3" fmla="*/ 2915922 h 2915922"/>
              <a:gd name="connsiteX4" fmla="*/ 0 w 8411782"/>
              <a:gd name="connsiteY4" fmla="*/ 2915921 h 2915922"/>
              <a:gd name="connsiteX5" fmla="*/ 0 w 8411782"/>
              <a:gd name="connsiteY5" fmla="*/ 0 h 2915922"/>
              <a:gd name="connsiteX0" fmla="*/ 0 w 8432652"/>
              <a:gd name="connsiteY0" fmla="*/ 0 h 2915922"/>
              <a:gd name="connsiteX1" fmla="*/ 8411266 w 8432652"/>
              <a:gd name="connsiteY1" fmla="*/ 0 h 2915922"/>
              <a:gd name="connsiteX2" fmla="*/ 8411265 w 8432652"/>
              <a:gd name="connsiteY2" fmla="*/ 2211294 h 2915922"/>
              <a:gd name="connsiteX3" fmla="*/ 7868409 w 8432652"/>
              <a:gd name="connsiteY3" fmla="*/ 2915922 h 2915922"/>
              <a:gd name="connsiteX4" fmla="*/ 0 w 8432652"/>
              <a:gd name="connsiteY4" fmla="*/ 2915921 h 2915922"/>
              <a:gd name="connsiteX5" fmla="*/ 0 w 8432652"/>
              <a:gd name="connsiteY5" fmla="*/ 0 h 2915922"/>
              <a:gd name="connsiteX0" fmla="*/ 0 w 8436700"/>
              <a:gd name="connsiteY0" fmla="*/ 0 h 2915922"/>
              <a:gd name="connsiteX1" fmla="*/ 8411266 w 8436700"/>
              <a:gd name="connsiteY1" fmla="*/ 0 h 2915922"/>
              <a:gd name="connsiteX2" fmla="*/ 8416654 w 8436700"/>
              <a:gd name="connsiteY2" fmla="*/ 2414055 h 2915922"/>
              <a:gd name="connsiteX3" fmla="*/ 7868409 w 8436700"/>
              <a:gd name="connsiteY3" fmla="*/ 2915922 h 2915922"/>
              <a:gd name="connsiteX4" fmla="*/ 0 w 8436700"/>
              <a:gd name="connsiteY4" fmla="*/ 2915921 h 2915922"/>
              <a:gd name="connsiteX5" fmla="*/ 0 w 8436700"/>
              <a:gd name="connsiteY5" fmla="*/ 0 h 2915922"/>
              <a:gd name="connsiteX0" fmla="*/ 0 w 8416921"/>
              <a:gd name="connsiteY0" fmla="*/ 0 h 2916199"/>
              <a:gd name="connsiteX1" fmla="*/ 8411266 w 8416921"/>
              <a:gd name="connsiteY1" fmla="*/ 0 h 2916199"/>
              <a:gd name="connsiteX2" fmla="*/ 8416654 w 8416921"/>
              <a:gd name="connsiteY2" fmla="*/ 2414055 h 2916199"/>
              <a:gd name="connsiteX3" fmla="*/ 7868409 w 8416921"/>
              <a:gd name="connsiteY3" fmla="*/ 2915922 h 2916199"/>
              <a:gd name="connsiteX4" fmla="*/ 0 w 8416921"/>
              <a:gd name="connsiteY4" fmla="*/ 2915921 h 2916199"/>
              <a:gd name="connsiteX5" fmla="*/ 0 w 8416921"/>
              <a:gd name="connsiteY5" fmla="*/ 0 h 2916199"/>
              <a:gd name="connsiteX0" fmla="*/ 0 w 8411781"/>
              <a:gd name="connsiteY0" fmla="*/ 0 h 2916229"/>
              <a:gd name="connsiteX1" fmla="*/ 8411266 w 8411781"/>
              <a:gd name="connsiteY1" fmla="*/ 0 h 2916229"/>
              <a:gd name="connsiteX2" fmla="*/ 8411264 w 8411781"/>
              <a:gd name="connsiteY2" fmla="*/ 2466045 h 2916229"/>
              <a:gd name="connsiteX3" fmla="*/ 7868409 w 8411781"/>
              <a:gd name="connsiteY3" fmla="*/ 2915922 h 2916229"/>
              <a:gd name="connsiteX4" fmla="*/ 0 w 8411781"/>
              <a:gd name="connsiteY4" fmla="*/ 2915921 h 2916229"/>
              <a:gd name="connsiteX5" fmla="*/ 0 w 8411781"/>
              <a:gd name="connsiteY5" fmla="*/ 0 h 2916229"/>
              <a:gd name="connsiteX0" fmla="*/ 0 w 8411781"/>
              <a:gd name="connsiteY0" fmla="*/ 0 h 2915922"/>
              <a:gd name="connsiteX1" fmla="*/ 8411266 w 8411781"/>
              <a:gd name="connsiteY1" fmla="*/ 0 h 2915922"/>
              <a:gd name="connsiteX2" fmla="*/ 8411264 w 8411781"/>
              <a:gd name="connsiteY2" fmla="*/ 2466045 h 2915922"/>
              <a:gd name="connsiteX3" fmla="*/ 7868409 w 8411781"/>
              <a:gd name="connsiteY3" fmla="*/ 2915922 h 2915922"/>
              <a:gd name="connsiteX4" fmla="*/ 0 w 8411781"/>
              <a:gd name="connsiteY4" fmla="*/ 2915921 h 2915922"/>
              <a:gd name="connsiteX5" fmla="*/ 0 w 8411781"/>
              <a:gd name="connsiteY5" fmla="*/ 0 h 2915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11781" h="2915922">
                <a:moveTo>
                  <a:pt x="0" y="0"/>
                </a:moveTo>
                <a:lnTo>
                  <a:pt x="8411266" y="0"/>
                </a:lnTo>
                <a:cubicBezTo>
                  <a:pt x="8409473" y="746063"/>
                  <a:pt x="8413057" y="1719982"/>
                  <a:pt x="8411264" y="2466045"/>
                </a:cubicBezTo>
                <a:cubicBezTo>
                  <a:pt x="8416643" y="2462559"/>
                  <a:pt x="8328468" y="2914301"/>
                  <a:pt x="7868409" y="2915922"/>
                </a:cubicBezTo>
                <a:lnTo>
                  <a:pt x="0" y="2915921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64592" y="6392072"/>
            <a:ext cx="2898337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s-ES_tradnl"/>
              <a:t>Deck title</a:t>
            </a:r>
          </a:p>
        </p:txBody>
      </p:sp>
      <p:sp>
        <p:nvSpPr>
          <p:cNvPr id="13" name="Marcador de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825521" y="2778280"/>
            <a:ext cx="5241279" cy="15363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</a:defRPr>
            </a:lvl1pPr>
            <a:lvl2pPr marL="609539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07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15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Highlight</a:t>
            </a:r>
            <a:r>
              <a:rPr lang="es-ES_tradnl"/>
              <a:t>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16,5/Simple pt </a:t>
            </a:r>
            <a:r>
              <a:rPr lang="es-ES_tradnl" err="1"/>
              <a:t>consecterur</a:t>
            </a:r>
            <a:r>
              <a:rPr lang="es-ES_tradnl"/>
              <a:t> </a:t>
            </a:r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vestibulum</a:t>
            </a:r>
            <a:r>
              <a:rPr lang="es-ES_tradnl"/>
              <a:t> a et urna.</a:t>
            </a:r>
          </a:p>
        </p:txBody>
      </p:sp>
      <p:sp>
        <p:nvSpPr>
          <p:cNvPr id="12" name="Marcador de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02091" y="5694854"/>
            <a:ext cx="11247967" cy="4952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chemeClr val="accent1"/>
                </a:solidFill>
              </a:defRPr>
            </a:lvl1pPr>
            <a:lvl2pPr marL="609539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07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15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Body</a:t>
            </a:r>
            <a:r>
              <a:rPr lang="es-ES_tradnl"/>
              <a:t> </a:t>
            </a:r>
            <a:r>
              <a:rPr lang="es-ES_tradnl" err="1"/>
              <a:t>cop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10,5/Simple pt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cm</a:t>
            </a:r>
            <a:r>
              <a:rPr lang="es-ES_tradnl"/>
              <a:t> dolor </a:t>
            </a:r>
            <a:r>
              <a:rPr lang="es-ES_tradnl" err="1"/>
              <a:t>sit</a:t>
            </a:r>
            <a:r>
              <a:rPr lang="es-ES_tradnl"/>
              <a:t> </a:t>
            </a:r>
            <a:r>
              <a:rPr lang="es-ES_tradnl" err="1"/>
              <a:t>amet</a:t>
            </a:r>
            <a:r>
              <a:rPr lang="es-ES_tradnl"/>
              <a:t>,</a:t>
            </a:r>
          </a:p>
          <a:p>
            <a:pPr lvl="0"/>
            <a:r>
              <a:rPr lang="es-ES_tradnl" err="1"/>
              <a:t>Consectetur</a:t>
            </a:r>
            <a:r>
              <a:rPr lang="es-ES_tradnl"/>
              <a:t> </a:t>
            </a:r>
            <a:r>
              <a:rPr lang="es-ES_tradnl" err="1"/>
              <a:t>adipiscing</a:t>
            </a:r>
            <a:r>
              <a:rPr lang="es-ES_tradnl"/>
              <a:t> </a:t>
            </a:r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est</a:t>
            </a:r>
            <a:r>
              <a:rPr lang="es-ES_tradnl"/>
              <a:t> et urna.</a:t>
            </a:r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425961" y="346558"/>
            <a:ext cx="11325656" cy="9827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933" baseline="0">
                <a:solidFill>
                  <a:schemeClr val="accent1"/>
                </a:solidFill>
              </a:defRPr>
            </a:lvl1pPr>
            <a:lvl2pPr marL="609539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07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15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Slide</a:t>
            </a:r>
            <a:r>
              <a:rPr lang="es-ES_tradnl"/>
              <a:t>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22/Simple pt.</a:t>
            </a: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2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3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484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4" orient="horz" pos="65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093" y="6340580"/>
            <a:ext cx="1490131" cy="4896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80440" y="6392080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>
                <a:solidFill>
                  <a:srgbClr val="002855"/>
                </a:solidFill>
              </a:rPr>
              <a:pPr/>
              <a:t>‹Nº›</a:t>
            </a:fld>
            <a:endParaRPr lang="es-ES_tradnl">
              <a:solidFill>
                <a:srgbClr val="002855"/>
              </a:solidFill>
            </a:endParaRPr>
          </a:p>
        </p:txBody>
      </p:sp>
      <p:cxnSp>
        <p:nvCxnSpPr>
          <p:cNvPr id="11" name="Conector recto 10"/>
          <p:cNvCxnSpPr/>
          <p:nvPr/>
        </p:nvCxnSpPr>
        <p:spPr>
          <a:xfrm>
            <a:off x="466733" y="6312759"/>
            <a:ext cx="1124902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6" y="356457"/>
            <a:ext cx="11247967" cy="1198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7" y="6392086"/>
            <a:ext cx="2610852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 err="1">
                <a:solidFill>
                  <a:srgbClr val="002855"/>
                </a:solidFill>
              </a:rPr>
              <a:t>Bioniz</a:t>
            </a:r>
            <a:r>
              <a:rPr lang="en-US">
                <a:solidFill>
                  <a:srgbClr val="002855"/>
                </a:solidFill>
              </a:rPr>
              <a:t> – Derma Commission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65592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Gráfico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gráfico 8"/>
          <p:cNvSpPr>
            <a:spLocks noGrp="1"/>
          </p:cNvSpPr>
          <p:nvPr>
            <p:ph type="chart" sz="quarter" idx="17"/>
          </p:nvPr>
        </p:nvSpPr>
        <p:spPr>
          <a:xfrm>
            <a:off x="466733" y="1008621"/>
            <a:ext cx="11217273" cy="4958627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69543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s-ES_tradnl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7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/>
              <a:pPr/>
              <a:t>‹Nº›</a:t>
            </a:fld>
            <a:endParaRPr lang="es-ES_tradnl"/>
          </a:p>
        </p:txBody>
      </p:sp>
      <p:cxnSp>
        <p:nvCxnSpPr>
          <p:cNvPr id="8" name="Conector recto 7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arcador de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419100" y="342744"/>
            <a:ext cx="10957984" cy="950384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933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_tradnl" err="1"/>
              <a:t>Slide</a:t>
            </a:r>
            <a:r>
              <a:rPr lang="es-ES_tradnl"/>
              <a:t>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29,5/29,5.</a:t>
            </a:r>
            <a:endParaRPr lang="pt-PT"/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929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_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8481306"/>
              </p:ext>
            </p:extLst>
          </p:nvPr>
        </p:nvGraphicFramePr>
        <p:xfrm>
          <a:off x="2121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1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7" y="6392086"/>
            <a:ext cx="26108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s-ES_tradnl">
                <a:solidFill>
                  <a:srgbClr val="002855"/>
                </a:solidFill>
              </a:rPr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87736" y="6392086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/>
              <a:pPr/>
              <a:t>‹Nº›</a:t>
            </a:fld>
            <a:endParaRPr lang="es-ES_tradnl"/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3" y="356472"/>
            <a:ext cx="11585672" cy="3916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3506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Imagen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imagen 7"/>
          <p:cNvSpPr>
            <a:spLocks noGrp="1" noChangeAspect="1"/>
          </p:cNvSpPr>
          <p:nvPr>
            <p:ph type="pic" sz="quarter" idx="15"/>
          </p:nvPr>
        </p:nvSpPr>
        <p:spPr>
          <a:xfrm>
            <a:off x="3767110" y="944312"/>
            <a:ext cx="8041021" cy="5082787"/>
          </a:xfrm>
          <a:custGeom>
            <a:avLst/>
            <a:gdLst>
              <a:gd name="connsiteX0" fmla="*/ 0 w 8411266"/>
              <a:gd name="connsiteY0" fmla="*/ 0 h 2915921"/>
              <a:gd name="connsiteX1" fmla="*/ 8411266 w 8411266"/>
              <a:gd name="connsiteY1" fmla="*/ 0 h 2915921"/>
              <a:gd name="connsiteX2" fmla="*/ 8411266 w 8411266"/>
              <a:gd name="connsiteY2" fmla="*/ 2915921 h 2915921"/>
              <a:gd name="connsiteX3" fmla="*/ 0 w 8411266"/>
              <a:gd name="connsiteY3" fmla="*/ 2915921 h 2915921"/>
              <a:gd name="connsiteX4" fmla="*/ 0 w 8411266"/>
              <a:gd name="connsiteY4" fmla="*/ 0 h 2915921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11266 w 8411266"/>
              <a:gd name="connsiteY2" fmla="*/ 2915921 h 2915922"/>
              <a:gd name="connsiteX3" fmla="*/ 7668987 w 8411266"/>
              <a:gd name="connsiteY3" fmla="*/ 2915922 h 2915922"/>
              <a:gd name="connsiteX4" fmla="*/ 0 w 8411266"/>
              <a:gd name="connsiteY4" fmla="*/ 2915921 h 2915922"/>
              <a:gd name="connsiteX5" fmla="*/ 0 w 8411266"/>
              <a:gd name="connsiteY5" fmla="*/ 0 h 2915922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05886 w 8411266"/>
              <a:gd name="connsiteY2" fmla="*/ 2238189 h 2915922"/>
              <a:gd name="connsiteX3" fmla="*/ 8411266 w 8411266"/>
              <a:gd name="connsiteY3" fmla="*/ 2915921 h 2915922"/>
              <a:gd name="connsiteX4" fmla="*/ 7668987 w 8411266"/>
              <a:gd name="connsiteY4" fmla="*/ 2915922 h 2915922"/>
              <a:gd name="connsiteX5" fmla="*/ 0 w 8411266"/>
              <a:gd name="connsiteY5" fmla="*/ 2915921 h 2915922"/>
              <a:gd name="connsiteX6" fmla="*/ 0 w 8411266"/>
              <a:gd name="connsiteY6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8411266 w 8411782"/>
              <a:gd name="connsiteY3" fmla="*/ 2915921 h 2915922"/>
              <a:gd name="connsiteX4" fmla="*/ 7668987 w 8411782"/>
              <a:gd name="connsiteY4" fmla="*/ 2915922 h 2915922"/>
              <a:gd name="connsiteX5" fmla="*/ 0 w 8411782"/>
              <a:gd name="connsiteY5" fmla="*/ 2915921 h 2915922"/>
              <a:gd name="connsiteX6" fmla="*/ 0 w 8411782"/>
              <a:gd name="connsiteY6" fmla="*/ 0 h 2915922"/>
              <a:gd name="connsiteX0" fmla="*/ 0 w 8519559"/>
              <a:gd name="connsiteY0" fmla="*/ 0 h 2915922"/>
              <a:gd name="connsiteX1" fmla="*/ 8411266 w 8519559"/>
              <a:gd name="connsiteY1" fmla="*/ 0 h 2915922"/>
              <a:gd name="connsiteX2" fmla="*/ 8411265 w 8519559"/>
              <a:gd name="connsiteY2" fmla="*/ 2211294 h 2915922"/>
              <a:gd name="connsiteX3" fmla="*/ 7668987 w 8519559"/>
              <a:gd name="connsiteY3" fmla="*/ 2915922 h 2915922"/>
              <a:gd name="connsiteX4" fmla="*/ 0 w 8519559"/>
              <a:gd name="connsiteY4" fmla="*/ 2915921 h 2915922"/>
              <a:gd name="connsiteX5" fmla="*/ 0 w 8519559"/>
              <a:gd name="connsiteY5" fmla="*/ 0 h 2915922"/>
              <a:gd name="connsiteX0" fmla="*/ 0 w 8568374"/>
              <a:gd name="connsiteY0" fmla="*/ 0 h 2915922"/>
              <a:gd name="connsiteX1" fmla="*/ 8411266 w 8568374"/>
              <a:gd name="connsiteY1" fmla="*/ 0 h 2915922"/>
              <a:gd name="connsiteX2" fmla="*/ 8411265 w 8568374"/>
              <a:gd name="connsiteY2" fmla="*/ 2211294 h 2915922"/>
              <a:gd name="connsiteX3" fmla="*/ 7668987 w 8568374"/>
              <a:gd name="connsiteY3" fmla="*/ 2915922 h 2915922"/>
              <a:gd name="connsiteX4" fmla="*/ 0 w 8568374"/>
              <a:gd name="connsiteY4" fmla="*/ 2915921 h 2915922"/>
              <a:gd name="connsiteX5" fmla="*/ 0 w 8568374"/>
              <a:gd name="connsiteY5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7668987 w 8411782"/>
              <a:gd name="connsiteY3" fmla="*/ 2915922 h 2915922"/>
              <a:gd name="connsiteX4" fmla="*/ 0 w 8411782"/>
              <a:gd name="connsiteY4" fmla="*/ 2915921 h 2915922"/>
              <a:gd name="connsiteX5" fmla="*/ 0 w 8411782"/>
              <a:gd name="connsiteY5" fmla="*/ 0 h 2915922"/>
              <a:gd name="connsiteX0" fmla="*/ 0 w 8418465"/>
              <a:gd name="connsiteY0" fmla="*/ 0 h 2915922"/>
              <a:gd name="connsiteX1" fmla="*/ 8411266 w 8418465"/>
              <a:gd name="connsiteY1" fmla="*/ 0 h 2915922"/>
              <a:gd name="connsiteX2" fmla="*/ 8418046 w 8418465"/>
              <a:gd name="connsiteY2" fmla="*/ 2519966 h 2915922"/>
              <a:gd name="connsiteX3" fmla="*/ 7668987 w 8418465"/>
              <a:gd name="connsiteY3" fmla="*/ 2915922 h 2915922"/>
              <a:gd name="connsiteX4" fmla="*/ 0 w 8418465"/>
              <a:gd name="connsiteY4" fmla="*/ 2915921 h 2915922"/>
              <a:gd name="connsiteX5" fmla="*/ 0 w 8418465"/>
              <a:gd name="connsiteY5" fmla="*/ 0 h 2915922"/>
              <a:gd name="connsiteX0" fmla="*/ 0 w 8425205"/>
              <a:gd name="connsiteY0" fmla="*/ 0 h 2915922"/>
              <a:gd name="connsiteX1" fmla="*/ 8411266 w 8425205"/>
              <a:gd name="connsiteY1" fmla="*/ 0 h 2915922"/>
              <a:gd name="connsiteX2" fmla="*/ 8424827 w 8425205"/>
              <a:gd name="connsiteY2" fmla="*/ 2522560 h 2915922"/>
              <a:gd name="connsiteX3" fmla="*/ 7668987 w 8425205"/>
              <a:gd name="connsiteY3" fmla="*/ 2915922 h 2915922"/>
              <a:gd name="connsiteX4" fmla="*/ 0 w 8425205"/>
              <a:gd name="connsiteY4" fmla="*/ 2915921 h 2915922"/>
              <a:gd name="connsiteX5" fmla="*/ 0 w 8425205"/>
              <a:gd name="connsiteY5" fmla="*/ 0 h 2915922"/>
              <a:gd name="connsiteX0" fmla="*/ 0 w 8411783"/>
              <a:gd name="connsiteY0" fmla="*/ 0 h 2915922"/>
              <a:gd name="connsiteX1" fmla="*/ 8411266 w 8411783"/>
              <a:gd name="connsiteY1" fmla="*/ 0 h 2915922"/>
              <a:gd name="connsiteX2" fmla="*/ 8411265 w 8411783"/>
              <a:gd name="connsiteY2" fmla="*/ 2506997 h 2915922"/>
              <a:gd name="connsiteX3" fmla="*/ 7668987 w 8411783"/>
              <a:gd name="connsiteY3" fmla="*/ 2915922 h 2915922"/>
              <a:gd name="connsiteX4" fmla="*/ 0 w 8411783"/>
              <a:gd name="connsiteY4" fmla="*/ 2915921 h 2915922"/>
              <a:gd name="connsiteX5" fmla="*/ 0 w 8411783"/>
              <a:gd name="connsiteY5" fmla="*/ 0 h 2915922"/>
              <a:gd name="connsiteX0" fmla="*/ 0 w 8411781"/>
              <a:gd name="connsiteY0" fmla="*/ 0 h 2918516"/>
              <a:gd name="connsiteX1" fmla="*/ 8411266 w 8411781"/>
              <a:gd name="connsiteY1" fmla="*/ 0 h 2918516"/>
              <a:gd name="connsiteX2" fmla="*/ 8411265 w 8411781"/>
              <a:gd name="connsiteY2" fmla="*/ 2506997 h 2918516"/>
              <a:gd name="connsiteX3" fmla="*/ 7431649 w 8411781"/>
              <a:gd name="connsiteY3" fmla="*/ 2918516 h 2918516"/>
              <a:gd name="connsiteX4" fmla="*/ 0 w 8411781"/>
              <a:gd name="connsiteY4" fmla="*/ 2915921 h 2918516"/>
              <a:gd name="connsiteX5" fmla="*/ 0 w 8411781"/>
              <a:gd name="connsiteY5" fmla="*/ 0 h 2918516"/>
              <a:gd name="connsiteX0" fmla="*/ 0 w 8411783"/>
              <a:gd name="connsiteY0" fmla="*/ 0 h 2921109"/>
              <a:gd name="connsiteX1" fmla="*/ 8411266 w 8411783"/>
              <a:gd name="connsiteY1" fmla="*/ 0 h 2921109"/>
              <a:gd name="connsiteX2" fmla="*/ 8411265 w 8411783"/>
              <a:gd name="connsiteY2" fmla="*/ 2506997 h 2921109"/>
              <a:gd name="connsiteX3" fmla="*/ 7431649 w 8411783"/>
              <a:gd name="connsiteY3" fmla="*/ 2918516 h 2921109"/>
              <a:gd name="connsiteX4" fmla="*/ 0 w 8411783"/>
              <a:gd name="connsiteY4" fmla="*/ 2921109 h 2921109"/>
              <a:gd name="connsiteX5" fmla="*/ 0 w 8411783"/>
              <a:gd name="connsiteY5" fmla="*/ 0 h 2921109"/>
              <a:gd name="connsiteX0" fmla="*/ 0 w 8412159"/>
              <a:gd name="connsiteY0" fmla="*/ 0 h 2921109"/>
              <a:gd name="connsiteX1" fmla="*/ 8411266 w 8412159"/>
              <a:gd name="connsiteY1" fmla="*/ 0 h 2921109"/>
              <a:gd name="connsiteX2" fmla="*/ 8411265 w 8412159"/>
              <a:gd name="connsiteY2" fmla="*/ 2506997 h 2921109"/>
              <a:gd name="connsiteX3" fmla="*/ 7431649 w 8412159"/>
              <a:gd name="connsiteY3" fmla="*/ 2918516 h 2921109"/>
              <a:gd name="connsiteX4" fmla="*/ 0 w 8412159"/>
              <a:gd name="connsiteY4" fmla="*/ 2921109 h 2921109"/>
              <a:gd name="connsiteX5" fmla="*/ 0 w 8412159"/>
              <a:gd name="connsiteY5" fmla="*/ 0 h 2921109"/>
              <a:gd name="connsiteX0" fmla="*/ 13562 w 8412159"/>
              <a:gd name="connsiteY0" fmla="*/ 0 h 2921109"/>
              <a:gd name="connsiteX1" fmla="*/ 8411266 w 8412159"/>
              <a:gd name="connsiteY1" fmla="*/ 0 h 2921109"/>
              <a:gd name="connsiteX2" fmla="*/ 8411265 w 8412159"/>
              <a:gd name="connsiteY2" fmla="*/ 2506997 h 2921109"/>
              <a:gd name="connsiteX3" fmla="*/ 7431649 w 8412159"/>
              <a:gd name="connsiteY3" fmla="*/ 2918516 h 2921109"/>
              <a:gd name="connsiteX4" fmla="*/ 0 w 8412159"/>
              <a:gd name="connsiteY4" fmla="*/ 2921109 h 2921109"/>
              <a:gd name="connsiteX5" fmla="*/ 13562 w 8412159"/>
              <a:gd name="connsiteY5" fmla="*/ 0 h 2921109"/>
              <a:gd name="connsiteX0" fmla="*/ 13562 w 8415929"/>
              <a:gd name="connsiteY0" fmla="*/ 0 h 2922720"/>
              <a:gd name="connsiteX1" fmla="*/ 8411266 w 8415929"/>
              <a:gd name="connsiteY1" fmla="*/ 0 h 2922720"/>
              <a:gd name="connsiteX2" fmla="*/ 8411265 w 8415929"/>
              <a:gd name="connsiteY2" fmla="*/ 2506997 h 2922720"/>
              <a:gd name="connsiteX3" fmla="*/ 7514079 w 8415929"/>
              <a:gd name="connsiteY3" fmla="*/ 2922720 h 2922720"/>
              <a:gd name="connsiteX4" fmla="*/ 0 w 8415929"/>
              <a:gd name="connsiteY4" fmla="*/ 2921109 h 2922720"/>
              <a:gd name="connsiteX5" fmla="*/ 13562 w 8415929"/>
              <a:gd name="connsiteY5" fmla="*/ 0 h 2922720"/>
              <a:gd name="connsiteX0" fmla="*/ 13562 w 8415929"/>
              <a:gd name="connsiteY0" fmla="*/ 0 h 2922720"/>
              <a:gd name="connsiteX1" fmla="*/ 8411266 w 8415929"/>
              <a:gd name="connsiteY1" fmla="*/ 0 h 2922720"/>
              <a:gd name="connsiteX2" fmla="*/ 8411265 w 8415929"/>
              <a:gd name="connsiteY2" fmla="*/ 2481772 h 2922720"/>
              <a:gd name="connsiteX3" fmla="*/ 7514079 w 8415929"/>
              <a:gd name="connsiteY3" fmla="*/ 2922720 h 2922720"/>
              <a:gd name="connsiteX4" fmla="*/ 0 w 8415929"/>
              <a:gd name="connsiteY4" fmla="*/ 2921109 h 2922720"/>
              <a:gd name="connsiteX5" fmla="*/ 13562 w 8415929"/>
              <a:gd name="connsiteY5" fmla="*/ 0 h 2922720"/>
              <a:gd name="connsiteX0" fmla="*/ 13562 w 8414282"/>
              <a:gd name="connsiteY0" fmla="*/ 0 h 2922720"/>
              <a:gd name="connsiteX1" fmla="*/ 8411266 w 8414282"/>
              <a:gd name="connsiteY1" fmla="*/ 0 h 2922720"/>
              <a:gd name="connsiteX2" fmla="*/ 8411265 w 8414282"/>
              <a:gd name="connsiteY2" fmla="*/ 2481772 h 2922720"/>
              <a:gd name="connsiteX3" fmla="*/ 7514079 w 8414282"/>
              <a:gd name="connsiteY3" fmla="*/ 2922720 h 2922720"/>
              <a:gd name="connsiteX4" fmla="*/ 0 w 8414282"/>
              <a:gd name="connsiteY4" fmla="*/ 2921109 h 2922720"/>
              <a:gd name="connsiteX5" fmla="*/ 13562 w 8414282"/>
              <a:gd name="connsiteY5" fmla="*/ 0 h 2922720"/>
              <a:gd name="connsiteX0" fmla="*/ 13562 w 8418988"/>
              <a:gd name="connsiteY0" fmla="*/ 0 h 2926924"/>
              <a:gd name="connsiteX1" fmla="*/ 8411266 w 8418988"/>
              <a:gd name="connsiteY1" fmla="*/ 0 h 2926924"/>
              <a:gd name="connsiteX2" fmla="*/ 8411265 w 8418988"/>
              <a:gd name="connsiteY2" fmla="*/ 2481772 h 2926924"/>
              <a:gd name="connsiteX3" fmla="*/ 7567541 w 8418988"/>
              <a:gd name="connsiteY3" fmla="*/ 2926924 h 2926924"/>
              <a:gd name="connsiteX4" fmla="*/ 0 w 8418988"/>
              <a:gd name="connsiteY4" fmla="*/ 2921109 h 2926924"/>
              <a:gd name="connsiteX5" fmla="*/ 13562 w 8418988"/>
              <a:gd name="connsiteY5" fmla="*/ 0 h 2926924"/>
              <a:gd name="connsiteX0" fmla="*/ 13562 w 8411933"/>
              <a:gd name="connsiteY0" fmla="*/ 0 h 2926924"/>
              <a:gd name="connsiteX1" fmla="*/ 8411266 w 8411933"/>
              <a:gd name="connsiteY1" fmla="*/ 0 h 2926924"/>
              <a:gd name="connsiteX2" fmla="*/ 8411265 w 8411933"/>
              <a:gd name="connsiteY2" fmla="*/ 2481772 h 2926924"/>
              <a:gd name="connsiteX3" fmla="*/ 7567541 w 8411933"/>
              <a:gd name="connsiteY3" fmla="*/ 2926924 h 2926924"/>
              <a:gd name="connsiteX4" fmla="*/ 0 w 8411933"/>
              <a:gd name="connsiteY4" fmla="*/ 2921109 h 2926924"/>
              <a:gd name="connsiteX5" fmla="*/ 13562 w 8411933"/>
              <a:gd name="connsiteY5" fmla="*/ 0 h 2926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11933" h="2926924">
                <a:moveTo>
                  <a:pt x="13562" y="0"/>
                </a:moveTo>
                <a:lnTo>
                  <a:pt x="8411266" y="0"/>
                </a:lnTo>
                <a:cubicBezTo>
                  <a:pt x="8409473" y="746063"/>
                  <a:pt x="8413058" y="1735709"/>
                  <a:pt x="8411265" y="2481772"/>
                </a:cubicBezTo>
                <a:cubicBezTo>
                  <a:pt x="8416644" y="2478286"/>
                  <a:pt x="8409771" y="2899745"/>
                  <a:pt x="7567541" y="2926924"/>
                </a:cubicBezTo>
                <a:lnTo>
                  <a:pt x="0" y="2921109"/>
                </a:lnTo>
                <a:cubicBezTo>
                  <a:pt x="4521" y="1947406"/>
                  <a:pt x="9041" y="973703"/>
                  <a:pt x="13562" y="0"/>
                </a:cubicBezTo>
                <a:close/>
              </a:path>
            </a:pathLst>
          </a:custGeom>
        </p:spPr>
        <p:txBody>
          <a:bodyPr/>
          <a:lstStyle/>
          <a:p>
            <a:pPr marL="304778" marR="0" lvl="0" indent="-304778" algn="l" defTabSz="1219108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69211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s-ES_tradnl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292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/>
              <a:pPr/>
              <a:t>‹Nº›</a:t>
            </a:fld>
            <a:endParaRPr lang="es-ES_tradnl"/>
          </a:p>
        </p:txBody>
      </p:sp>
      <p:sp>
        <p:nvSpPr>
          <p:cNvPr id="15" name="Marcador de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9101" y="941918"/>
            <a:ext cx="2523041" cy="42955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chemeClr val="accent1"/>
                </a:solidFill>
              </a:defRPr>
            </a:lvl1pPr>
            <a:lvl2pPr marL="609555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10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64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2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Arial Bold 10,5/Simple pt.</a:t>
            </a:r>
          </a:p>
          <a:p>
            <a:pPr lvl="0"/>
            <a:endParaRPr lang="es-ES_tradnl"/>
          </a:p>
          <a:p>
            <a:pPr lvl="0"/>
            <a:r>
              <a:rPr lang="es-ES_tradnl" err="1"/>
              <a:t>Body</a:t>
            </a:r>
            <a:r>
              <a:rPr lang="es-ES_tradnl"/>
              <a:t> </a:t>
            </a:r>
            <a:r>
              <a:rPr lang="es-ES_tradnl" err="1"/>
              <a:t>copy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10,5/Simple pt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m</a:t>
            </a:r>
            <a:r>
              <a:rPr lang="es-ES_tradnl"/>
              <a:t> </a:t>
            </a:r>
            <a:r>
              <a:rPr lang="es-ES_tradnl" err="1"/>
              <a:t>est</a:t>
            </a:r>
            <a:r>
              <a:rPr lang="es-ES_tradnl"/>
              <a:t> </a:t>
            </a:r>
            <a:r>
              <a:rPr lang="es-ES_tradnl" err="1"/>
              <a:t>semper</a:t>
            </a:r>
            <a:r>
              <a:rPr lang="es-ES_tradnl"/>
              <a:t>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m</a:t>
            </a:r>
            <a:r>
              <a:rPr lang="es-ES_tradnl"/>
              <a:t> dolor </a:t>
            </a:r>
            <a:r>
              <a:rPr lang="es-ES_tradnl" err="1"/>
              <a:t>sit</a:t>
            </a:r>
            <a:r>
              <a:rPr lang="es-ES_tradnl"/>
              <a:t> </a:t>
            </a:r>
            <a:r>
              <a:rPr lang="es-ES_tradnl" err="1"/>
              <a:t>amet</a:t>
            </a:r>
            <a:r>
              <a:rPr lang="es-ES_tradnl"/>
              <a:t>, </a:t>
            </a:r>
            <a:r>
              <a:rPr lang="es-ES_tradnl" err="1"/>
              <a:t>consectetur</a:t>
            </a:r>
            <a:r>
              <a:rPr lang="es-ES_tradnl"/>
              <a:t> </a:t>
            </a:r>
            <a:r>
              <a:rPr lang="es-ES_tradnl" err="1"/>
              <a:t>adipiscing</a:t>
            </a:r>
            <a:r>
              <a:rPr lang="es-ES_tradnl"/>
              <a:t> </a:t>
            </a:r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est</a:t>
            </a:r>
            <a:r>
              <a:rPr lang="es-ES_tradnl"/>
              <a:t> </a:t>
            </a:r>
            <a:r>
              <a:rPr lang="es-ES_tradnl" err="1"/>
              <a:t>semper</a:t>
            </a:r>
            <a:r>
              <a:rPr lang="es-ES_tradnl"/>
              <a:t>.</a:t>
            </a:r>
          </a:p>
          <a:p>
            <a:pPr lvl="0"/>
            <a:endParaRPr lang="es-ES_tradnl"/>
          </a:p>
          <a:p>
            <a:pPr lvl="0"/>
            <a:r>
              <a:rPr lang="es-ES_tradnl" err="1"/>
              <a:t>Vestibulum</a:t>
            </a:r>
            <a:r>
              <a:rPr lang="es-ES_tradnl"/>
              <a:t> a et urna. </a:t>
            </a:r>
            <a:r>
              <a:rPr lang="es-ES_tradnl" err="1"/>
              <a:t>Suspendisse</a:t>
            </a:r>
            <a:r>
              <a:rPr lang="es-ES_tradnl"/>
              <a:t> </a:t>
            </a:r>
            <a:r>
              <a:rPr lang="es-ES_tradnl" err="1"/>
              <a:t>finibus</a:t>
            </a:r>
            <a:r>
              <a:rPr lang="es-ES_tradnl"/>
              <a:t> </a:t>
            </a:r>
            <a:r>
              <a:rPr lang="es-ES_tradnl" err="1"/>
              <a:t>felis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orci</a:t>
            </a:r>
            <a:r>
              <a:rPr lang="es-ES_tradnl"/>
              <a:t> </a:t>
            </a:r>
            <a:r>
              <a:rPr lang="es-ES_tradnl" err="1"/>
              <a:t>maximus</a:t>
            </a:r>
            <a:r>
              <a:rPr lang="es-ES_tradnl"/>
              <a:t> </a:t>
            </a:r>
            <a:r>
              <a:rPr lang="es-ES_tradnl" err="1"/>
              <a:t>tincidunt</a:t>
            </a:r>
            <a:r>
              <a:rPr lang="es-ES_tradnl"/>
              <a:t>. </a:t>
            </a:r>
            <a:r>
              <a:rPr lang="es-ES_tradnl" err="1"/>
              <a:t>Vestibulum</a:t>
            </a:r>
            <a:r>
              <a:rPr lang="es-ES_tradnl"/>
              <a:t> </a:t>
            </a:r>
            <a:r>
              <a:rPr lang="es-ES_tradnl" err="1"/>
              <a:t>sit</a:t>
            </a:r>
            <a:r>
              <a:rPr lang="es-ES_tradnl"/>
              <a:t> </a:t>
            </a:r>
            <a:r>
              <a:rPr lang="es-ES_tradnl" err="1"/>
              <a:t>amet</a:t>
            </a:r>
            <a:r>
              <a:rPr lang="es-ES_tradnl"/>
              <a:t> </a:t>
            </a:r>
            <a:r>
              <a:rPr lang="es-ES_tradnl" err="1"/>
              <a:t>mattis</a:t>
            </a:r>
            <a:r>
              <a:rPr lang="es-ES_tradnl"/>
              <a:t> leo. </a:t>
            </a:r>
            <a:r>
              <a:rPr lang="es-ES_tradnl" err="1"/>
              <a:t>Fusce</a:t>
            </a:r>
            <a:r>
              <a:rPr lang="es-ES_tradnl"/>
              <a:t> </a:t>
            </a:r>
            <a:r>
              <a:rPr lang="es-ES_tradnl" err="1"/>
              <a:t>quis</a:t>
            </a:r>
            <a:r>
              <a:rPr lang="es-ES_tradnl"/>
              <a:t>. Justo sed ex </a:t>
            </a:r>
            <a:r>
              <a:rPr lang="es-ES_tradnl" err="1"/>
              <a:t>suscipit</a:t>
            </a:r>
            <a:r>
              <a:rPr lang="es-ES_tradnl"/>
              <a:t> </a:t>
            </a:r>
            <a:r>
              <a:rPr lang="es-ES_tradnl" err="1"/>
              <a:t>corper</a:t>
            </a:r>
            <a:r>
              <a:rPr lang="es-ES_tradnl"/>
              <a:t>. </a:t>
            </a:r>
            <a:r>
              <a:rPr lang="es-ES_tradnl" err="1"/>
              <a:t>Interdum</a:t>
            </a:r>
            <a:r>
              <a:rPr lang="es-ES_tradnl"/>
              <a:t> </a:t>
            </a:r>
            <a:r>
              <a:rPr lang="es-ES_tradnl" err="1"/>
              <a:t>malesuada</a:t>
            </a:r>
            <a:r>
              <a:rPr lang="es-ES_tradnl"/>
              <a:t> </a:t>
            </a:r>
            <a:r>
              <a:rPr lang="es-ES_tradnl" err="1"/>
              <a:t>fames</a:t>
            </a:r>
            <a:r>
              <a:rPr lang="es-ES_tradnl"/>
              <a:t>  ante </a:t>
            </a:r>
            <a:r>
              <a:rPr lang="es-ES_tradnl" err="1"/>
              <a:t>ipsum</a:t>
            </a:r>
            <a:r>
              <a:rPr lang="es-ES_tradnl"/>
              <a:t> </a:t>
            </a:r>
            <a:r>
              <a:rPr lang="es-ES_tradnl" err="1"/>
              <a:t>primis</a:t>
            </a:r>
            <a:r>
              <a:rPr lang="es-ES_tradnl"/>
              <a:t> in </a:t>
            </a:r>
            <a:r>
              <a:rPr lang="es-ES_tradnl" err="1"/>
              <a:t>faucibus</a:t>
            </a:r>
            <a:r>
              <a:rPr lang="es-ES_tradnl"/>
              <a:t>.</a:t>
            </a:r>
          </a:p>
        </p:txBody>
      </p:sp>
      <p:cxnSp>
        <p:nvCxnSpPr>
          <p:cNvPr id="12" name="Conector recto 11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arcador de texto 2"/>
          <p:cNvSpPr>
            <a:spLocks noGrp="1"/>
          </p:cNvSpPr>
          <p:nvPr>
            <p:ph type="body" sz="quarter" idx="17" hasCustomPrompt="1"/>
          </p:nvPr>
        </p:nvSpPr>
        <p:spPr>
          <a:xfrm>
            <a:off x="428066" y="343245"/>
            <a:ext cx="7763933" cy="78740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933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s-ES_tradnl" err="1"/>
              <a:t>Slide</a:t>
            </a:r>
            <a:r>
              <a:rPr lang="es-ES_tradnl"/>
              <a:t>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22/Simple pt.</a:t>
            </a:r>
            <a:endParaRPr lang="pt-PT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134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orient="horz" pos="44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560017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5" y="6392072"/>
            <a:ext cx="26108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>
                <a:solidFill>
                  <a:srgbClr val="002855"/>
                </a:solidFill>
              </a:rPr>
              <a:t>AD Biologic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87735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smtClean="0">
                <a:solidFill>
                  <a:srgbClr val="002855"/>
                </a:solidFill>
              </a:rPr>
              <a:pPr/>
              <a:t>‹Nº›</a:t>
            </a:fld>
            <a:endParaRPr lang="en-US">
              <a:solidFill>
                <a:srgbClr val="002855"/>
              </a:solidFill>
            </a:endParaRPr>
          </a:p>
        </p:txBody>
      </p:sp>
      <p:cxnSp>
        <p:nvCxnSpPr>
          <p:cNvPr id="11" name="Conector recto 10"/>
          <p:cNvCxnSpPr/>
          <p:nvPr userDrawn="1"/>
        </p:nvCxnSpPr>
        <p:spPr>
          <a:xfrm>
            <a:off x="466728" y="6312759"/>
            <a:ext cx="1124902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texto 12"/>
          <p:cNvSpPr>
            <a:spLocks noGrp="1"/>
          </p:cNvSpPr>
          <p:nvPr>
            <p:ph type="body" sz="quarter" idx="13"/>
          </p:nvPr>
        </p:nvSpPr>
        <p:spPr>
          <a:xfrm>
            <a:off x="467784" y="1689646"/>
            <a:ext cx="11260920" cy="4295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err="1"/>
              <a:t>Haga</a:t>
            </a:r>
            <a:r>
              <a:rPr lang="en-US"/>
              <a:t> </a:t>
            </a:r>
            <a:r>
              <a:rPr lang="en-US" err="1"/>
              <a:t>clic</a:t>
            </a:r>
            <a:r>
              <a:rPr lang="en-US"/>
              <a:t> para </a:t>
            </a:r>
            <a:r>
              <a:rPr lang="en-US" err="1"/>
              <a:t>modificar</a:t>
            </a:r>
            <a:r>
              <a:rPr lang="en-US"/>
              <a:t> el </a:t>
            </a:r>
            <a:r>
              <a:rPr lang="en-US" err="1"/>
              <a:t>estilo</a:t>
            </a:r>
            <a:r>
              <a:rPr lang="en-US"/>
              <a:t> de </a:t>
            </a:r>
            <a:r>
              <a:rPr lang="en-US" err="1"/>
              <a:t>texto</a:t>
            </a:r>
            <a:r>
              <a:rPr lang="en-US"/>
              <a:t> del </a:t>
            </a:r>
            <a:r>
              <a:rPr lang="en-US" err="1"/>
              <a:t>patrón</a:t>
            </a:r>
            <a:endParaRPr lang="en-US"/>
          </a:p>
          <a:p>
            <a:pPr lvl="0"/>
            <a:endParaRPr lang="en-US"/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5" y="356457"/>
            <a:ext cx="11247967" cy="1198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err="1"/>
              <a:t>Haga</a:t>
            </a:r>
            <a:r>
              <a:rPr lang="en-US"/>
              <a:t> </a:t>
            </a:r>
            <a:r>
              <a:rPr lang="en-US" err="1"/>
              <a:t>clic</a:t>
            </a:r>
            <a:r>
              <a:rPr lang="en-US"/>
              <a:t> para </a:t>
            </a:r>
            <a:r>
              <a:rPr lang="en-US" err="1"/>
              <a:t>modificar</a:t>
            </a:r>
            <a:r>
              <a:rPr lang="en-US"/>
              <a:t> el </a:t>
            </a:r>
            <a:r>
              <a:rPr lang="en-US" err="1"/>
              <a:t>estilo</a:t>
            </a:r>
            <a:r>
              <a:rPr lang="en-US"/>
              <a:t> de </a:t>
            </a:r>
            <a:r>
              <a:rPr lang="en-US" err="1"/>
              <a:t>texto</a:t>
            </a:r>
            <a:r>
              <a:rPr lang="en-US"/>
              <a:t> del </a:t>
            </a:r>
            <a:r>
              <a:rPr lang="en-US" err="1"/>
              <a:t>patrón</a:t>
            </a:r>
            <a:endParaRPr lang="en-US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093" y="6340580"/>
            <a:ext cx="1219115" cy="48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833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cipa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247685A9-F3CC-9373-8D6D-27581692F7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Imagen 3" descr="Logotipo&#10;&#10;Descripción generada automáticamente">
            <a:extLst>
              <a:ext uri="{FF2B5EF4-FFF2-40B4-BE49-F238E27FC236}">
                <a16:creationId xmlns:a16="http://schemas.microsoft.com/office/drawing/2014/main" id="{E2FDD60C-28F6-4412-8E57-F706DB608E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625" y="1922728"/>
            <a:ext cx="6899968" cy="3358895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CEAAD3F3-5831-F12A-97EA-3A694067E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6597" r="19800" b="17542"/>
          <a:stretch/>
        </p:blipFill>
        <p:spPr>
          <a:xfrm>
            <a:off x="10549263" y="5926412"/>
            <a:ext cx="1311153" cy="715020"/>
          </a:xfrm>
          <a:prstGeom prst="rect">
            <a:avLst/>
          </a:prstGeom>
        </p:spPr>
      </p:pic>
      <p:grpSp>
        <p:nvGrpSpPr>
          <p:cNvPr id="8" name="Grupo 7">
            <a:extLst>
              <a:ext uri="{FF2B5EF4-FFF2-40B4-BE49-F238E27FC236}">
                <a16:creationId xmlns:a16="http://schemas.microsoft.com/office/drawing/2014/main" id="{080314BB-ABB9-788E-55C9-756A5823B50C}"/>
              </a:ext>
            </a:extLst>
          </p:cNvPr>
          <p:cNvGrpSpPr/>
          <p:nvPr userDrawn="1"/>
        </p:nvGrpSpPr>
        <p:grpSpPr>
          <a:xfrm>
            <a:off x="243803" y="6283922"/>
            <a:ext cx="6228334" cy="415498"/>
            <a:chOff x="243803" y="6283922"/>
            <a:chExt cx="6228334" cy="415498"/>
          </a:xfrm>
        </p:grpSpPr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EA2B0301-1C2D-3808-1253-1DB2E88F1EC3}"/>
                </a:ext>
              </a:extLst>
            </p:cNvPr>
            <p:cNvSpPr txBox="1"/>
            <p:nvPr userDrawn="1"/>
          </p:nvSpPr>
          <p:spPr>
            <a:xfrm>
              <a:off x="331585" y="6283922"/>
              <a:ext cx="614055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70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Este medicamento está sujeto a seguimiento adicional, lo que agilizará la detección de nueva información sobre su seguridad. Se invita a los profesionales sanitarios a notificar las sospecha de reacciones adversas. Ver la sección 4.8, en la que se incluye información sobre como notificarlas.</a:t>
              </a:r>
            </a:p>
            <a:p>
              <a:pPr algn="r"/>
              <a:endParaRPr lang="es-ES" sz="7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Triángulo 9">
              <a:extLst>
                <a:ext uri="{FF2B5EF4-FFF2-40B4-BE49-F238E27FC236}">
                  <a16:creationId xmlns:a16="http://schemas.microsoft.com/office/drawing/2014/main" id="{964FB293-7A9D-1E56-367F-8193B71CBA46}"/>
                </a:ext>
              </a:extLst>
            </p:cNvPr>
            <p:cNvSpPr/>
            <p:nvPr userDrawn="1"/>
          </p:nvSpPr>
          <p:spPr>
            <a:xfrm rot="10800000">
              <a:off x="243803" y="6343517"/>
              <a:ext cx="110712" cy="954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5" name="Imagen 4" descr="Texto&#10;&#10;Descripción generada automáticamente">
            <a:extLst>
              <a:ext uri="{FF2B5EF4-FFF2-40B4-BE49-F238E27FC236}">
                <a16:creationId xmlns:a16="http://schemas.microsoft.com/office/drawing/2014/main" id="{B28BDB80-E541-2875-0BF6-05DD8858675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1761" y="346351"/>
            <a:ext cx="2138655" cy="518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4268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3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7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3" name="Marcador de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31923" y="1689649"/>
            <a:ext cx="11381195" cy="43167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chemeClr val="accent1"/>
                </a:solidFill>
              </a:defRPr>
            </a:lvl1pPr>
            <a:lvl2pPr marL="609555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10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64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2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sp>
        <p:nvSpPr>
          <p:cNvPr id="7" name="Marcador de texto 6"/>
          <p:cNvSpPr>
            <a:spLocks noGrp="1"/>
          </p:cNvSpPr>
          <p:nvPr>
            <p:ph type="body" sz="quarter" idx="19" hasCustomPrompt="1"/>
          </p:nvPr>
        </p:nvSpPr>
        <p:spPr>
          <a:xfrm>
            <a:off x="425329" y="346557"/>
            <a:ext cx="11423649" cy="10423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933">
                <a:solidFill>
                  <a:schemeClr val="accent1"/>
                </a:solidFill>
              </a:defRPr>
            </a:lvl1pPr>
            <a:lvl2pPr marL="457189" indent="0">
              <a:buNone/>
              <a:defRPr sz="2933">
                <a:solidFill>
                  <a:schemeClr val="accent1"/>
                </a:solidFill>
              </a:defRPr>
            </a:lvl2pPr>
            <a:lvl3pPr marL="914377" indent="0">
              <a:buNone/>
              <a:defRPr sz="2933">
                <a:solidFill>
                  <a:schemeClr val="accent1"/>
                </a:solidFill>
              </a:defRPr>
            </a:lvl3pPr>
            <a:lvl4pPr marL="1371566" indent="0">
              <a:buNone/>
              <a:defRPr sz="2933">
                <a:solidFill>
                  <a:schemeClr val="accent1"/>
                </a:solidFill>
              </a:defRPr>
            </a:lvl4pPr>
            <a:lvl5pPr marL="1828754" indent="0">
              <a:buNone/>
              <a:defRPr sz="2933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Slide title is Arial Regular 22/Simple pt.</a:t>
            </a:r>
          </a:p>
        </p:txBody>
      </p:sp>
    </p:spTree>
    <p:extLst>
      <p:ext uri="{BB962C8B-B14F-4D97-AF65-F5344CB8AC3E}">
        <p14:creationId xmlns:p14="http://schemas.microsoft.com/office/powerpoint/2010/main" val="2622149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6282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s-ES_tradnl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292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/>
              <a:pPr/>
              <a:t>‹Nº›</a:t>
            </a:fld>
            <a:endParaRPr lang="es-ES_tradnl"/>
          </a:p>
        </p:txBody>
      </p:sp>
      <p:sp>
        <p:nvSpPr>
          <p:cNvPr id="13" name="Marcador de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31928" y="1686985"/>
            <a:ext cx="11247965" cy="163544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39178" indent="-23917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SzPct val="50000"/>
              <a:buFont typeface="Arial" charset="0"/>
              <a:buChar char="•"/>
              <a:tabLst/>
              <a:defRPr sz="2200" baseline="0">
                <a:solidFill>
                  <a:schemeClr val="accent2"/>
                </a:solidFill>
              </a:defRPr>
            </a:lvl1pPr>
            <a:lvl2pPr marL="609555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10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64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2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Bullet</a:t>
            </a:r>
            <a:r>
              <a:rPr lang="es-ES_tradnl"/>
              <a:t> </a:t>
            </a:r>
            <a:r>
              <a:rPr lang="es-ES_tradnl" err="1"/>
              <a:t>points</a:t>
            </a:r>
            <a:r>
              <a:rPr lang="es-ES_tradnl"/>
              <a:t> Arial Regular 16,5/Simple pt.</a:t>
            </a:r>
          </a:p>
          <a:p>
            <a:pPr lvl="0"/>
            <a:r>
              <a:rPr lang="es-ES_tradnl" err="1"/>
              <a:t>Space</a:t>
            </a:r>
            <a:r>
              <a:rPr lang="es-ES_tradnl"/>
              <a:t> </a:t>
            </a:r>
            <a:r>
              <a:rPr lang="es-ES_tradnl" err="1"/>
              <a:t>before</a:t>
            </a:r>
            <a:r>
              <a:rPr lang="es-ES_tradnl"/>
              <a:t> line </a:t>
            </a:r>
            <a:r>
              <a:rPr lang="es-ES_tradnl" err="1"/>
              <a:t>two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1,5 pt. </a:t>
            </a:r>
          </a:p>
        </p:txBody>
      </p:sp>
      <p:sp>
        <p:nvSpPr>
          <p:cNvPr id="10" name="Marcador de texto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1929" y="3878663"/>
            <a:ext cx="10300593" cy="2347148"/>
          </a:xfrm>
          <a:prstGeom prst="rect">
            <a:avLst/>
          </a:prstGeom>
        </p:spPr>
        <p:txBody>
          <a:bodyPr lIns="0" tIns="0" rIns="0" bIns="0" numCol="2" spcCol="360000">
            <a:normAutofit/>
          </a:bodyPr>
          <a:lstStyle>
            <a:lvl1pPr marL="239178" indent="-23917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SzPct val="50000"/>
              <a:buFont typeface="Arial" charset="0"/>
              <a:buChar char="•"/>
              <a:tabLst/>
              <a:defRPr sz="1800" baseline="0">
                <a:solidFill>
                  <a:schemeClr val="accent1"/>
                </a:solidFill>
              </a:defRPr>
            </a:lvl1pPr>
            <a:lvl2pPr marL="609555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10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64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2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Texto, Arial Bold 18pt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m</a:t>
            </a:r>
            <a:r>
              <a:rPr lang="es-ES_tradnl"/>
              <a:t>	  </a:t>
            </a:r>
            <a:r>
              <a:rPr lang="es-ES_tradnl" err="1"/>
              <a:t>semper</a:t>
            </a:r>
            <a:r>
              <a:rPr lang="es-ES_tradnl"/>
              <a:t>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m</a:t>
            </a:r>
            <a:r>
              <a:rPr lang="es-ES_tradnl"/>
              <a:t> dolor </a:t>
            </a:r>
            <a:r>
              <a:rPr lang="es-ES_tradnl" err="1"/>
              <a:t>sit</a:t>
            </a:r>
            <a:r>
              <a:rPr lang="es-ES_tradnl"/>
              <a:t> </a:t>
            </a:r>
            <a:r>
              <a:rPr lang="es-ES_tradnl" err="1"/>
              <a:t>amet</a:t>
            </a:r>
            <a:r>
              <a:rPr lang="es-ES_tradnl"/>
              <a:t>, 	  </a:t>
            </a:r>
            <a:r>
              <a:rPr lang="es-ES_tradnl" err="1"/>
              <a:t>consectetur</a:t>
            </a:r>
            <a:r>
              <a:rPr lang="es-ES_tradnl"/>
              <a:t> </a:t>
            </a:r>
            <a:r>
              <a:rPr lang="es-ES_tradnl" err="1"/>
              <a:t>adipiscing</a:t>
            </a:r>
            <a:r>
              <a:rPr lang="es-ES_tradnl"/>
              <a:t>. </a:t>
            </a:r>
          </a:p>
          <a:p>
            <a:pPr lvl="0"/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est</a:t>
            </a:r>
            <a:r>
              <a:rPr lang="es-ES_tradnl"/>
              <a:t> </a:t>
            </a:r>
            <a:r>
              <a:rPr lang="es-ES_tradnl" err="1"/>
              <a:t>semper</a:t>
            </a:r>
            <a:r>
              <a:rPr lang="es-ES_tradnl"/>
              <a:t> </a:t>
            </a:r>
            <a:r>
              <a:rPr lang="es-ES_tradnl" err="1"/>
              <a:t>vestibulum</a:t>
            </a:r>
            <a:r>
              <a:rPr lang="es-ES_tradnl"/>
              <a:t> a et urna. </a:t>
            </a:r>
            <a:r>
              <a:rPr lang="es-ES_tradnl" err="1"/>
              <a:t>Suspendisse</a:t>
            </a:r>
            <a:r>
              <a:rPr lang="es-ES_tradnl"/>
              <a:t> </a:t>
            </a:r>
            <a:r>
              <a:rPr lang="es-ES_tradnl" err="1"/>
              <a:t>finibus</a:t>
            </a:r>
            <a:r>
              <a:rPr lang="es-ES_tradnl"/>
              <a:t> </a:t>
            </a:r>
            <a:r>
              <a:rPr lang="es-ES_tradnl" err="1"/>
              <a:t>vestibulum</a:t>
            </a:r>
            <a:endParaRPr lang="es-ES_tradnl"/>
          </a:p>
          <a:p>
            <a:pPr lvl="0"/>
            <a:endParaRPr lang="es-ES_tradnl"/>
          </a:p>
          <a:p>
            <a:pPr lvl="0"/>
            <a:endParaRPr lang="es-ES_tradnl"/>
          </a:p>
          <a:p>
            <a:pPr lvl="0"/>
            <a:r>
              <a:rPr lang="es-ES_tradnl"/>
              <a:t>Texto, Arial Bold 18pt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m</a:t>
            </a:r>
            <a:r>
              <a:rPr lang="es-ES_tradnl"/>
              <a:t>	  </a:t>
            </a:r>
            <a:r>
              <a:rPr lang="es-ES_tradnl" err="1"/>
              <a:t>semper</a:t>
            </a:r>
            <a:r>
              <a:rPr lang="es-ES_tradnl"/>
              <a:t>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m</a:t>
            </a:r>
            <a:r>
              <a:rPr lang="es-ES_tradnl"/>
              <a:t> dolor </a:t>
            </a:r>
            <a:r>
              <a:rPr lang="es-ES_tradnl" err="1"/>
              <a:t>sit</a:t>
            </a:r>
            <a:r>
              <a:rPr lang="es-ES_tradnl"/>
              <a:t> </a:t>
            </a:r>
            <a:r>
              <a:rPr lang="es-ES_tradnl" err="1"/>
              <a:t>amet</a:t>
            </a:r>
            <a:r>
              <a:rPr lang="es-ES_tradnl"/>
              <a:t>, 	  </a:t>
            </a:r>
            <a:r>
              <a:rPr lang="es-ES_tradnl" err="1"/>
              <a:t>consectetur</a:t>
            </a:r>
            <a:r>
              <a:rPr lang="es-ES_tradnl"/>
              <a:t> </a:t>
            </a:r>
            <a:r>
              <a:rPr lang="es-ES_tradnl" err="1"/>
              <a:t>adipiscing</a:t>
            </a:r>
            <a:r>
              <a:rPr lang="es-ES_tradnl"/>
              <a:t>. </a:t>
            </a:r>
          </a:p>
          <a:p>
            <a:pPr lvl="0"/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est</a:t>
            </a:r>
            <a:r>
              <a:rPr lang="es-ES_tradnl"/>
              <a:t> </a:t>
            </a:r>
            <a:r>
              <a:rPr lang="es-ES_tradnl" err="1"/>
              <a:t>semper</a:t>
            </a:r>
            <a:r>
              <a:rPr lang="es-ES_tradnl"/>
              <a:t> </a:t>
            </a:r>
            <a:r>
              <a:rPr lang="es-ES_tradnl" err="1"/>
              <a:t>vestibulum</a:t>
            </a:r>
            <a:r>
              <a:rPr lang="es-ES_tradnl"/>
              <a:t> a et urna. </a:t>
            </a:r>
            <a:r>
              <a:rPr lang="es-ES_tradnl" err="1"/>
              <a:t>Suspendisse</a:t>
            </a:r>
            <a:r>
              <a:rPr lang="es-ES_tradnl"/>
              <a:t> </a:t>
            </a:r>
            <a:r>
              <a:rPr lang="es-ES_tradnl" err="1"/>
              <a:t>finibus</a:t>
            </a:r>
            <a:r>
              <a:rPr lang="es-ES_tradnl"/>
              <a:t> </a:t>
            </a:r>
            <a:r>
              <a:rPr lang="es-ES_tradnl" err="1"/>
              <a:t>vestibulum</a:t>
            </a:r>
            <a:endParaRPr lang="es-ES_tradnl"/>
          </a:p>
          <a:p>
            <a:pPr lvl="0"/>
            <a:endParaRPr lang="es-ES_tradnl"/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arcador de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428066" y="342321"/>
            <a:ext cx="10176933" cy="861483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933">
                <a:solidFill>
                  <a:schemeClr val="accent1"/>
                </a:solidFill>
              </a:defRPr>
            </a:lvl1pPr>
            <a:lvl2pPr marL="457189" indent="0">
              <a:buNone/>
              <a:defRPr sz="2933">
                <a:solidFill>
                  <a:schemeClr val="accent1"/>
                </a:solidFill>
              </a:defRPr>
            </a:lvl2pPr>
            <a:lvl3pPr marL="914377" indent="0">
              <a:buNone/>
              <a:defRPr sz="2933">
                <a:solidFill>
                  <a:schemeClr val="accent1"/>
                </a:solidFill>
              </a:defRPr>
            </a:lvl3pPr>
            <a:lvl4pPr marL="1371566" indent="0">
              <a:buNone/>
              <a:defRPr sz="2933">
                <a:solidFill>
                  <a:schemeClr val="accent1"/>
                </a:solidFill>
              </a:defRPr>
            </a:lvl4pPr>
            <a:lvl5pPr marL="1828754" indent="0">
              <a:buNone/>
              <a:defRPr sz="2933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_tradnl" err="1"/>
              <a:t>Slide</a:t>
            </a:r>
            <a:r>
              <a:rPr lang="es-ES_tradnl"/>
              <a:t>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22/Simple.</a:t>
            </a:r>
            <a:endParaRPr lang="pt-PT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436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093" y="6340580"/>
            <a:ext cx="1490131" cy="4896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7" y="6392074"/>
            <a:ext cx="26108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s-ES_tradnl">
                <a:solidFill>
                  <a:srgbClr val="002855"/>
                </a:solidFill>
              </a:rPr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87735" y="6392074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>
                <a:solidFill>
                  <a:srgbClr val="002855"/>
                </a:solidFill>
              </a:rPr>
              <a:pPr/>
              <a:t>‹Nº›</a:t>
            </a:fld>
            <a:endParaRPr lang="es-ES_tradnl">
              <a:solidFill>
                <a:srgbClr val="002855"/>
              </a:solidFill>
            </a:endParaRPr>
          </a:p>
        </p:txBody>
      </p:sp>
      <p:cxnSp>
        <p:nvCxnSpPr>
          <p:cNvPr id="11" name="Conector recto 10"/>
          <p:cNvCxnSpPr/>
          <p:nvPr userDrawn="1"/>
        </p:nvCxnSpPr>
        <p:spPr>
          <a:xfrm>
            <a:off x="466729" y="6312759"/>
            <a:ext cx="1124902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texto 12"/>
          <p:cNvSpPr>
            <a:spLocks noGrp="1"/>
          </p:cNvSpPr>
          <p:nvPr>
            <p:ph type="body" sz="quarter" idx="13"/>
          </p:nvPr>
        </p:nvSpPr>
        <p:spPr>
          <a:xfrm>
            <a:off x="467786" y="1634227"/>
            <a:ext cx="11247967" cy="7701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640"/>
              </a:lnSpc>
              <a:spcBef>
                <a:spcPts val="0"/>
              </a:spcBef>
              <a:buNone/>
              <a:defRPr sz="2200">
                <a:solidFill>
                  <a:schemeClr val="accent2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2" name="Marcador de texto 12"/>
          <p:cNvSpPr>
            <a:spLocks noGrp="1"/>
          </p:cNvSpPr>
          <p:nvPr>
            <p:ph type="body" sz="quarter" idx="14"/>
          </p:nvPr>
        </p:nvSpPr>
        <p:spPr>
          <a:xfrm>
            <a:off x="467786" y="5716751"/>
            <a:ext cx="11247967" cy="495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8" name="Marcador de imagen 7"/>
          <p:cNvSpPr>
            <a:spLocks noGrp="1"/>
          </p:cNvSpPr>
          <p:nvPr>
            <p:ph type="pic" sz="quarter" idx="15"/>
          </p:nvPr>
        </p:nvSpPr>
        <p:spPr>
          <a:xfrm>
            <a:off x="467788" y="2581237"/>
            <a:ext cx="11215709" cy="2915923"/>
          </a:xfrm>
          <a:custGeom>
            <a:avLst/>
            <a:gdLst>
              <a:gd name="connsiteX0" fmla="*/ 0 w 8411266"/>
              <a:gd name="connsiteY0" fmla="*/ 0 h 2915921"/>
              <a:gd name="connsiteX1" fmla="*/ 8411266 w 8411266"/>
              <a:gd name="connsiteY1" fmla="*/ 0 h 2915921"/>
              <a:gd name="connsiteX2" fmla="*/ 8411266 w 8411266"/>
              <a:gd name="connsiteY2" fmla="*/ 2915921 h 2915921"/>
              <a:gd name="connsiteX3" fmla="*/ 0 w 8411266"/>
              <a:gd name="connsiteY3" fmla="*/ 2915921 h 2915921"/>
              <a:gd name="connsiteX4" fmla="*/ 0 w 8411266"/>
              <a:gd name="connsiteY4" fmla="*/ 0 h 2915921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11266 w 8411266"/>
              <a:gd name="connsiteY2" fmla="*/ 2915921 h 2915922"/>
              <a:gd name="connsiteX3" fmla="*/ 7668987 w 8411266"/>
              <a:gd name="connsiteY3" fmla="*/ 2915922 h 2915922"/>
              <a:gd name="connsiteX4" fmla="*/ 0 w 8411266"/>
              <a:gd name="connsiteY4" fmla="*/ 2915921 h 2915922"/>
              <a:gd name="connsiteX5" fmla="*/ 0 w 8411266"/>
              <a:gd name="connsiteY5" fmla="*/ 0 h 2915922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05886 w 8411266"/>
              <a:gd name="connsiteY2" fmla="*/ 2238189 h 2915922"/>
              <a:gd name="connsiteX3" fmla="*/ 8411266 w 8411266"/>
              <a:gd name="connsiteY3" fmla="*/ 2915921 h 2915922"/>
              <a:gd name="connsiteX4" fmla="*/ 7668987 w 8411266"/>
              <a:gd name="connsiteY4" fmla="*/ 2915922 h 2915922"/>
              <a:gd name="connsiteX5" fmla="*/ 0 w 8411266"/>
              <a:gd name="connsiteY5" fmla="*/ 2915921 h 2915922"/>
              <a:gd name="connsiteX6" fmla="*/ 0 w 8411266"/>
              <a:gd name="connsiteY6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8411266 w 8411782"/>
              <a:gd name="connsiteY3" fmla="*/ 2915921 h 2915922"/>
              <a:gd name="connsiteX4" fmla="*/ 7668987 w 8411782"/>
              <a:gd name="connsiteY4" fmla="*/ 2915922 h 2915922"/>
              <a:gd name="connsiteX5" fmla="*/ 0 w 8411782"/>
              <a:gd name="connsiteY5" fmla="*/ 2915921 h 2915922"/>
              <a:gd name="connsiteX6" fmla="*/ 0 w 8411782"/>
              <a:gd name="connsiteY6" fmla="*/ 0 h 2915922"/>
              <a:gd name="connsiteX0" fmla="*/ 0 w 8519559"/>
              <a:gd name="connsiteY0" fmla="*/ 0 h 2915922"/>
              <a:gd name="connsiteX1" fmla="*/ 8411266 w 8519559"/>
              <a:gd name="connsiteY1" fmla="*/ 0 h 2915922"/>
              <a:gd name="connsiteX2" fmla="*/ 8411265 w 8519559"/>
              <a:gd name="connsiteY2" fmla="*/ 2211294 h 2915922"/>
              <a:gd name="connsiteX3" fmla="*/ 7668987 w 8519559"/>
              <a:gd name="connsiteY3" fmla="*/ 2915922 h 2915922"/>
              <a:gd name="connsiteX4" fmla="*/ 0 w 8519559"/>
              <a:gd name="connsiteY4" fmla="*/ 2915921 h 2915922"/>
              <a:gd name="connsiteX5" fmla="*/ 0 w 8519559"/>
              <a:gd name="connsiteY5" fmla="*/ 0 h 2915922"/>
              <a:gd name="connsiteX0" fmla="*/ 0 w 8568374"/>
              <a:gd name="connsiteY0" fmla="*/ 0 h 2915922"/>
              <a:gd name="connsiteX1" fmla="*/ 8411266 w 8568374"/>
              <a:gd name="connsiteY1" fmla="*/ 0 h 2915922"/>
              <a:gd name="connsiteX2" fmla="*/ 8411265 w 8568374"/>
              <a:gd name="connsiteY2" fmla="*/ 2211294 h 2915922"/>
              <a:gd name="connsiteX3" fmla="*/ 7668987 w 8568374"/>
              <a:gd name="connsiteY3" fmla="*/ 2915922 h 2915922"/>
              <a:gd name="connsiteX4" fmla="*/ 0 w 8568374"/>
              <a:gd name="connsiteY4" fmla="*/ 2915921 h 2915922"/>
              <a:gd name="connsiteX5" fmla="*/ 0 w 8568374"/>
              <a:gd name="connsiteY5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7668987 w 8411782"/>
              <a:gd name="connsiteY3" fmla="*/ 2915922 h 2915922"/>
              <a:gd name="connsiteX4" fmla="*/ 0 w 8411782"/>
              <a:gd name="connsiteY4" fmla="*/ 2915921 h 2915922"/>
              <a:gd name="connsiteX5" fmla="*/ 0 w 8411782"/>
              <a:gd name="connsiteY5" fmla="*/ 0 h 2915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11782" h="2915922">
                <a:moveTo>
                  <a:pt x="0" y="0"/>
                </a:moveTo>
                <a:lnTo>
                  <a:pt x="8411266" y="0"/>
                </a:lnTo>
                <a:cubicBezTo>
                  <a:pt x="8409473" y="746063"/>
                  <a:pt x="8413058" y="1465231"/>
                  <a:pt x="8411265" y="2211294"/>
                </a:cubicBezTo>
                <a:cubicBezTo>
                  <a:pt x="8416644" y="2207808"/>
                  <a:pt x="8387753" y="2841514"/>
                  <a:pt x="7668987" y="2915922"/>
                </a:cubicBezTo>
                <a:lnTo>
                  <a:pt x="0" y="2915921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s-ES_tradnl"/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6" y="356457"/>
            <a:ext cx="11247967" cy="1198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53194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42BC4E8E-377B-5041-BBD0-F0894C966A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1468" y="6401520"/>
            <a:ext cx="11560160" cy="424944"/>
          </a:xfrm>
          <a:prstGeom prst="rect">
            <a:avLst/>
          </a:prstGeom>
        </p:spPr>
      </p:pic>
      <p:sp>
        <p:nvSpPr>
          <p:cNvPr id="16" name="Marcador de texto 11">
            <a:extLst>
              <a:ext uri="{FF2B5EF4-FFF2-40B4-BE49-F238E27FC236}">
                <a16:creationId xmlns:a16="http://schemas.microsoft.com/office/drawing/2014/main" id="{391656EC-ED0B-43BE-AB98-8B8E6E8A91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3836" y="414338"/>
            <a:ext cx="6621273" cy="9138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Marcador de texto 13">
            <a:extLst>
              <a:ext uri="{FF2B5EF4-FFF2-40B4-BE49-F238E27FC236}">
                <a16:creationId xmlns:a16="http://schemas.microsoft.com/office/drawing/2014/main" id="{680BF30E-945D-4551-9AD4-A0A5C58D12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3836" y="1495428"/>
            <a:ext cx="6621273" cy="2188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rgbClr val="022A5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00033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2">
            <a:extLst>
              <a:ext uri="{FF2B5EF4-FFF2-40B4-BE49-F238E27FC236}">
                <a16:creationId xmlns:a16="http://schemas.microsoft.com/office/drawing/2014/main" id="{830DDCE8-0EAD-4BA6-94BB-936C169DC2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0" y="6340475"/>
            <a:ext cx="1490133" cy="488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ector recto 10">
            <a:extLst>
              <a:ext uri="{FF2B5EF4-FFF2-40B4-BE49-F238E27FC236}">
                <a16:creationId xmlns:a16="http://schemas.microsoft.com/office/drawing/2014/main" id="{249BE8A0-A934-4577-88F0-06D0AB44BB5E}"/>
              </a:ext>
            </a:extLst>
          </p:cNvPr>
          <p:cNvCxnSpPr/>
          <p:nvPr userDrawn="1"/>
        </p:nvCxnSpPr>
        <p:spPr>
          <a:xfrm>
            <a:off x="467786" y="6313488"/>
            <a:ext cx="11247967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3" y="356457"/>
            <a:ext cx="11585672" cy="3916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5" name="Marcador de tabla 3"/>
          <p:cNvSpPr>
            <a:spLocks noGrp="1"/>
          </p:cNvSpPr>
          <p:nvPr>
            <p:ph type="tbl" sz="quarter" idx="19"/>
          </p:nvPr>
        </p:nvSpPr>
        <p:spPr>
          <a:xfrm>
            <a:off x="465667" y="1008063"/>
            <a:ext cx="11218333" cy="4959351"/>
          </a:xfrm>
          <a:prstGeom prst="rect">
            <a:avLst/>
          </a:prstGeom>
        </p:spPr>
        <p:txBody>
          <a:bodyPr/>
          <a:lstStyle/>
          <a:p>
            <a:pPr lvl="0"/>
            <a:endParaRPr lang="es-ES_tradnl" noProof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7BDF644-A4D8-4273-A86B-4006EE3771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233333" y="6392864"/>
            <a:ext cx="2609851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s-ES_tradnl"/>
              <a:t>Deck 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0E37E42-7CB4-403F-AA09-9CB2CE81E76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7687735" y="6392864"/>
            <a:ext cx="579967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1DA36FD-7DEE-4740-A6F3-4231243FFF26}" type="slidenum">
              <a:rPr lang="es-ES_tradnl" altLang="es-ES"/>
              <a:pPr/>
              <a:t>‹Nº›</a:t>
            </a:fld>
            <a:endParaRPr lang="es-ES_tradnl" altLang="es-ES"/>
          </a:p>
        </p:txBody>
      </p:sp>
    </p:spTree>
    <p:extLst>
      <p:ext uri="{BB962C8B-B14F-4D97-AF65-F5344CB8AC3E}">
        <p14:creationId xmlns:p14="http://schemas.microsoft.com/office/powerpoint/2010/main" val="35698928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094" y="6340580"/>
            <a:ext cx="1115476" cy="48764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5" y="6392075"/>
            <a:ext cx="26108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10826" y="6392075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7F5849F-5C4B-4248-A065-E3301E597E84}" type="slidenum">
              <a:rPr lang="en-GB" smtClean="0"/>
              <a:t>‹Nº›</a:t>
            </a:fld>
            <a:endParaRPr lang="en-GB"/>
          </a:p>
        </p:txBody>
      </p:sp>
      <p:cxnSp>
        <p:nvCxnSpPr>
          <p:cNvPr id="11" name="Conector recto 10"/>
          <p:cNvCxnSpPr/>
          <p:nvPr/>
        </p:nvCxnSpPr>
        <p:spPr>
          <a:xfrm>
            <a:off x="466729" y="6312759"/>
            <a:ext cx="1124902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texto 12"/>
          <p:cNvSpPr>
            <a:spLocks noGrp="1"/>
          </p:cNvSpPr>
          <p:nvPr>
            <p:ph type="body" sz="quarter" idx="13"/>
          </p:nvPr>
        </p:nvSpPr>
        <p:spPr>
          <a:xfrm>
            <a:off x="467784" y="1689648"/>
            <a:ext cx="11260920" cy="4295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75"/>
              </a:lnSpc>
              <a:spcBef>
                <a:spcPts val="0"/>
              </a:spcBef>
              <a:buNone/>
              <a:defRPr sz="1051">
                <a:solidFill>
                  <a:schemeClr val="accent1"/>
                </a:solidFill>
              </a:defRPr>
            </a:lvl1pPr>
            <a:lvl2pPr marL="342891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2pPr>
            <a:lvl3pPr marL="685783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3pPr>
            <a:lvl4pPr marL="1028674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4pPr>
            <a:lvl5pPr marL="1371566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6" y="356457"/>
            <a:ext cx="11247967" cy="1198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213"/>
              </a:lnSpc>
              <a:spcBef>
                <a:spcPts val="0"/>
              </a:spcBef>
              <a:buNone/>
              <a:defRPr sz="2213">
                <a:solidFill>
                  <a:schemeClr val="accent1"/>
                </a:solidFill>
              </a:defRPr>
            </a:lvl1pPr>
            <a:lvl2pPr marL="342891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2pPr>
            <a:lvl3pPr marL="685783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3pPr>
            <a:lvl4pPr marL="1028674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4pPr>
            <a:lvl5pPr marL="1371566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88366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orta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224949FA-E870-0220-68F6-844449E193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A72BBCAF-B997-2340-8D6B-A8B6ADBC43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82344" y="2659152"/>
            <a:ext cx="6286347" cy="221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400" b="1">
                <a:solidFill>
                  <a:srgbClr val="002855"/>
                </a:solidFill>
                <a:latin typeface="Candara" panose="020E0502030303020204" pitchFamily="34" charset="0"/>
              </a:defRPr>
            </a:lvl1pPr>
          </a:lstStyle>
          <a:p>
            <a:pPr lvl="0"/>
            <a:r>
              <a:rPr lang="es-ES"/>
              <a:t>Haga clic para modificar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5DB67B8-78EE-C054-4318-024D9B6BB0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474849" y="262776"/>
            <a:ext cx="3835400" cy="106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588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30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  <p:sp>
        <p:nvSpPr>
          <p:cNvPr id="5" name="Marcador de texto 9">
            <a:extLst>
              <a:ext uri="{FF2B5EF4-FFF2-40B4-BE49-F238E27FC236}">
                <a16:creationId xmlns:a16="http://schemas.microsoft.com/office/drawing/2014/main" id="{BA9290BC-3658-EAF8-4F10-519B1B9B19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06806" y="6352378"/>
            <a:ext cx="8572999" cy="312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7F7F7F"/>
                </a:solidFill>
              </a:defRPr>
            </a:lvl1pPr>
          </a:lstStyle>
          <a:p>
            <a:r>
              <a:rPr lang="es-ES" sz="1400" kern="1200" err="1">
                <a:solidFill>
                  <a:srgbClr val="7F7F7F"/>
                </a:solidFill>
                <a:latin typeface="+mn-lt"/>
                <a:ea typeface="+mn-ea"/>
                <a:cs typeface="+mn-cs"/>
              </a:rPr>
              <a:t>Footnotes</a:t>
            </a:r>
            <a:r>
              <a:rPr lang="es-ES" sz="1400" kern="1200">
                <a:solidFill>
                  <a:srgbClr val="7F7F7F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s-ES" sz="1400" kern="1200" err="1">
                <a:solidFill>
                  <a:srgbClr val="7F7F7F"/>
                </a:solidFill>
                <a:latin typeface="+mn-lt"/>
                <a:ea typeface="+mn-ea"/>
                <a:cs typeface="+mn-cs"/>
              </a:rPr>
              <a:t>references</a:t>
            </a:r>
            <a:endParaRPr lang="es-ES" sz="1400" kern="1200">
              <a:solidFill>
                <a:srgbClr val="7F7F7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9343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3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2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3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29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10102536" y="6407784"/>
            <a:ext cx="981883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s-ES_tradnl"/>
            </a:defPPr>
            <a:lvl1pPr marL="0" algn="l" defTabSz="914400" rtl="0" eaLnBrk="1" latinLnBrk="0" hangingPunct="1">
              <a:defRPr sz="75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80938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3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2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3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29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</p:spTree>
    <p:extLst>
      <p:ext uri="{BB962C8B-B14F-4D97-AF65-F5344CB8AC3E}">
        <p14:creationId xmlns:p14="http://schemas.microsoft.com/office/powerpoint/2010/main" val="2228073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incipal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CEAAD3F3-5831-F12A-97EA-3A694067E4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597" r="19800" b="17542"/>
          <a:stretch/>
        </p:blipFill>
        <p:spPr>
          <a:xfrm>
            <a:off x="10549263" y="5926412"/>
            <a:ext cx="1311153" cy="71502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CD2737B-31B0-1EE5-E9EC-0DA50838E9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305" y="3009848"/>
            <a:ext cx="4701703" cy="1069252"/>
          </a:xfrm>
        </p:spPr>
        <p:txBody>
          <a:bodyPr lIns="0" anchor="t" anchorCtr="0">
            <a:noAutofit/>
          </a:bodyPr>
          <a:lstStyle>
            <a:lvl1pPr>
              <a:defRPr sz="3200" b="1" i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err="1"/>
              <a:t>Título</a:t>
            </a:r>
            <a:r>
              <a:rPr lang="en-GB"/>
              <a:t> del </a:t>
            </a:r>
            <a:r>
              <a:rPr lang="en-GB" err="1"/>
              <a:t>caso</a:t>
            </a:r>
            <a:r>
              <a:rPr lang="en-GB"/>
              <a:t> </a:t>
            </a:r>
            <a:r>
              <a:rPr lang="en-GB" err="1"/>
              <a:t>clínico</a:t>
            </a:r>
            <a:r>
              <a:rPr lang="en-GB"/>
              <a:t> Arial 32pt</a:t>
            </a:r>
            <a:endParaRPr lang="en-E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DDFB23D-0F59-A7F7-523D-B74999E28752}"/>
              </a:ext>
            </a:extLst>
          </p:cNvPr>
          <p:cNvSpPr txBox="1">
            <a:spLocks/>
          </p:cNvSpPr>
          <p:nvPr userDrawn="1"/>
        </p:nvSpPr>
        <p:spPr>
          <a:xfrm>
            <a:off x="6180305" y="2531050"/>
            <a:ext cx="4701703" cy="354121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00285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2400">
                <a:solidFill>
                  <a:srgbClr val="E93C3D"/>
                </a:solidFill>
              </a:rPr>
              <a:t>CASO CLÍNICO</a:t>
            </a:r>
            <a:endParaRPr lang="en-ES" sz="2400">
              <a:solidFill>
                <a:srgbClr val="E93C3D"/>
              </a:solidFill>
            </a:endParaRP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BF4A63B6-9F82-633F-63C7-F34F30C663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0305" y="4230848"/>
            <a:ext cx="4701703" cy="235250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Nombre</a:t>
            </a:r>
            <a:r>
              <a:rPr lang="en-GB"/>
              <a:t> y </a:t>
            </a:r>
            <a:r>
              <a:rPr lang="en-GB" err="1"/>
              <a:t>Apellidos</a:t>
            </a:r>
            <a:endParaRPr lang="en-GB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5DFFC6D9-A986-5AE9-8AF1-DF1A68A92B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0305" y="4528559"/>
            <a:ext cx="4701703" cy="235250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Nombre</a:t>
            </a:r>
            <a:r>
              <a:rPr lang="en-GB"/>
              <a:t> del Hospital</a:t>
            </a:r>
          </a:p>
        </p:txBody>
      </p:sp>
      <p:pic>
        <p:nvPicPr>
          <p:cNvPr id="15" name="Imagen 14" descr="Logotipo&#10;&#10;Descripción generada automáticamente">
            <a:extLst>
              <a:ext uri="{FF2B5EF4-FFF2-40B4-BE49-F238E27FC236}">
                <a16:creationId xmlns:a16="http://schemas.microsoft.com/office/drawing/2014/main" id="{28A43125-2E0B-AE3F-5F5B-D8ABF054CD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6983" y="0"/>
            <a:ext cx="3905017" cy="1900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0992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3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2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3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29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</p:spTree>
    <p:extLst>
      <p:ext uri="{BB962C8B-B14F-4D97-AF65-F5344CB8AC3E}">
        <p14:creationId xmlns:p14="http://schemas.microsoft.com/office/powerpoint/2010/main" val="1084101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utoShape 6">
            <a:extLst>
              <a:ext uri="{FF2B5EF4-FFF2-40B4-BE49-F238E27FC236}">
                <a16:creationId xmlns:a16="http://schemas.microsoft.com/office/drawing/2014/main" id="{0B6CDB0D-3AD7-4B5F-B5B3-1BB7944B0076}"/>
              </a:ext>
            </a:extLst>
          </p:cNvPr>
          <p:cNvSpPr/>
          <p:nvPr/>
        </p:nvSpPr>
        <p:spPr>
          <a:xfrm>
            <a:off x="685800" y="0"/>
            <a:ext cx="152400" cy="1879600"/>
          </a:xfrm>
          <a:prstGeom prst="rect">
            <a:avLst/>
          </a:prstGeom>
          <a:solidFill>
            <a:srgbClr val="034C8C"/>
          </a:solidFill>
        </p:spPr>
      </p:sp>
      <p:sp>
        <p:nvSpPr>
          <p:cNvPr id="19" name="AutoShape 8">
            <a:extLst>
              <a:ext uri="{FF2B5EF4-FFF2-40B4-BE49-F238E27FC236}">
                <a16:creationId xmlns:a16="http://schemas.microsoft.com/office/drawing/2014/main" id="{5A53C00A-9A86-4ABB-9C74-21A091A8FEA1}"/>
              </a:ext>
            </a:extLst>
          </p:cNvPr>
          <p:cNvSpPr/>
          <p:nvPr/>
        </p:nvSpPr>
        <p:spPr>
          <a:xfrm>
            <a:off x="0" y="629600"/>
            <a:ext cx="584200" cy="852157"/>
          </a:xfrm>
          <a:prstGeom prst="rect">
            <a:avLst/>
          </a:prstGeom>
          <a:solidFill>
            <a:srgbClr val="034C8C"/>
          </a:solidFill>
        </p:spPr>
      </p:sp>
    </p:spTree>
    <p:extLst>
      <p:ext uri="{BB962C8B-B14F-4D97-AF65-F5344CB8AC3E}">
        <p14:creationId xmlns:p14="http://schemas.microsoft.com/office/powerpoint/2010/main" val="9850194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093" y="6340580"/>
            <a:ext cx="1490131" cy="4896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5" y="6392072"/>
            <a:ext cx="26108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s-ES_tradnl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87736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/>
              <a:pPr/>
              <a:t>‹Nº›</a:t>
            </a:fld>
            <a:endParaRPr lang="es-ES_tradnl"/>
          </a:p>
        </p:txBody>
      </p:sp>
      <p:cxnSp>
        <p:nvCxnSpPr>
          <p:cNvPr id="11" name="Conector recto 10"/>
          <p:cNvCxnSpPr/>
          <p:nvPr userDrawn="1"/>
        </p:nvCxnSpPr>
        <p:spPr>
          <a:xfrm>
            <a:off x="466732" y="6312759"/>
            <a:ext cx="1124902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texto 12"/>
          <p:cNvSpPr>
            <a:spLocks noGrp="1"/>
          </p:cNvSpPr>
          <p:nvPr>
            <p:ph type="body" sz="quarter" idx="13"/>
          </p:nvPr>
        </p:nvSpPr>
        <p:spPr>
          <a:xfrm>
            <a:off x="467784" y="1689650"/>
            <a:ext cx="11260920" cy="4295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457155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0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46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618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0"/>
            <a:endParaRPr lang="es-ES_tradnl"/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9" y="356459"/>
            <a:ext cx="11247967" cy="1198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55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0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46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618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6250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o 14">
            <a:extLst>
              <a:ext uri="{FF2B5EF4-FFF2-40B4-BE49-F238E27FC236}">
                <a16:creationId xmlns:a16="http://schemas.microsoft.com/office/drawing/2014/main" id="{6EDAE843-CD38-565C-BCF9-95E859A9EBBF}"/>
              </a:ext>
            </a:extLst>
          </p:cNvPr>
          <p:cNvGrpSpPr/>
          <p:nvPr userDrawn="1"/>
        </p:nvGrpSpPr>
        <p:grpSpPr>
          <a:xfrm>
            <a:off x="0" y="10534"/>
            <a:ext cx="12192000" cy="6836933"/>
            <a:chOff x="0" y="10533"/>
            <a:chExt cx="12192000" cy="6836933"/>
          </a:xfrm>
        </p:grpSpPr>
        <p:pic>
          <p:nvPicPr>
            <p:cNvPr id="6" name="Imagen 5" descr="Imagen que contiene Gráfico&#10;&#10;Descripción generada automáticamente">
              <a:extLst>
                <a:ext uri="{FF2B5EF4-FFF2-40B4-BE49-F238E27FC236}">
                  <a16:creationId xmlns:a16="http://schemas.microsoft.com/office/drawing/2014/main" id="{B13C54E0-0C0D-2EA7-D2B2-91D80F1F72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10533"/>
              <a:ext cx="12192000" cy="6836933"/>
            </a:xfrm>
            <a:prstGeom prst="rect">
              <a:avLst/>
            </a:prstGeom>
          </p:spPr>
        </p:pic>
        <p:grpSp>
          <p:nvGrpSpPr>
            <p:cNvPr id="14" name="Grupo 13">
              <a:extLst>
                <a:ext uri="{FF2B5EF4-FFF2-40B4-BE49-F238E27FC236}">
                  <a16:creationId xmlns:a16="http://schemas.microsoft.com/office/drawing/2014/main" id="{97E4F3C6-7814-6C1E-6086-858892DE91CF}"/>
                </a:ext>
              </a:extLst>
            </p:cNvPr>
            <p:cNvGrpSpPr/>
            <p:nvPr userDrawn="1"/>
          </p:nvGrpSpPr>
          <p:grpSpPr>
            <a:xfrm>
              <a:off x="8368145" y="110607"/>
              <a:ext cx="3740728" cy="1284084"/>
              <a:chOff x="8368145" y="110607"/>
              <a:chExt cx="3740728" cy="1284084"/>
            </a:xfrm>
          </p:grpSpPr>
          <p:sp>
            <p:nvSpPr>
              <p:cNvPr id="12" name="Rectángulo 11">
                <a:extLst>
                  <a:ext uri="{FF2B5EF4-FFF2-40B4-BE49-F238E27FC236}">
                    <a16:creationId xmlns:a16="http://schemas.microsoft.com/office/drawing/2014/main" id="{724325CF-6B25-24FB-C8F0-CA8C4A370649}"/>
                  </a:ext>
                </a:extLst>
              </p:cNvPr>
              <p:cNvSpPr/>
              <p:nvPr userDrawn="1"/>
            </p:nvSpPr>
            <p:spPr>
              <a:xfrm>
                <a:off x="8368145" y="110607"/>
                <a:ext cx="3740728" cy="128408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800"/>
              </a:p>
            </p:txBody>
          </p:sp>
          <p:pic>
            <p:nvPicPr>
              <p:cNvPr id="11" name="Imagen 10" descr="Imagen que contiene Gráfico&#10;&#10;Descripción generada automáticamente">
                <a:extLst>
                  <a:ext uri="{FF2B5EF4-FFF2-40B4-BE49-F238E27FC236}">
                    <a16:creationId xmlns:a16="http://schemas.microsoft.com/office/drawing/2014/main" id="{F16537AD-642C-B489-F9BC-90CE4382D3B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/>
              <a:srcRect l="68288" b="77103"/>
              <a:stretch/>
            </p:blipFill>
            <p:spPr>
              <a:xfrm>
                <a:off x="9627464" y="205642"/>
                <a:ext cx="2402466" cy="972731"/>
              </a:xfrm>
              <a:prstGeom prst="rect">
                <a:avLst/>
              </a:prstGeom>
            </p:spPr>
          </p:pic>
        </p:grpSp>
      </p:grp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1667893" y="422280"/>
            <a:ext cx="7780907" cy="520697"/>
          </a:xfrm>
        </p:spPr>
        <p:txBody>
          <a:bodyPr anchor="t"/>
          <a:lstStyle/>
          <a:p>
            <a:r>
              <a:rPr lang="es-ES"/>
              <a:t>Clic para editar título</a:t>
            </a:r>
            <a:br>
              <a:rPr lang="es-ES"/>
            </a:b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41056" y="1985818"/>
            <a:ext cx="11109605" cy="3959081"/>
          </a:xfrm>
        </p:spPr>
        <p:txBody>
          <a:bodyPr>
            <a:normAutofit/>
          </a:bodyPr>
          <a:lstStyle>
            <a:lvl1pPr>
              <a:buClr>
                <a:srgbClr val="18958C"/>
              </a:buClr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</a:defRPr>
            </a:lvl1pPr>
            <a:lvl2pPr>
              <a:buClr>
                <a:srgbClr val="18958C"/>
              </a:buCl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</a:defRPr>
            </a:lvl2pPr>
            <a:lvl3pPr>
              <a:buClr>
                <a:srgbClr val="18958C"/>
              </a:buClr>
              <a:defRPr sz="16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</a:defRPr>
            </a:lvl3pPr>
            <a:lvl4pPr>
              <a:buClr>
                <a:srgbClr val="18958C"/>
              </a:buClr>
              <a:defRPr sz="16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</a:defRPr>
            </a:lvl4pPr>
            <a:lvl5pPr>
              <a:buClr>
                <a:srgbClr val="18958C"/>
              </a:buClr>
              <a:defRPr sz="16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10" name="Marcador de texto 9"/>
          <p:cNvSpPr>
            <a:spLocks noGrp="1"/>
          </p:cNvSpPr>
          <p:nvPr>
            <p:ph type="body" sz="quarter" idx="13" hasCustomPrompt="1"/>
          </p:nvPr>
        </p:nvSpPr>
        <p:spPr>
          <a:xfrm>
            <a:off x="1668173" y="942976"/>
            <a:ext cx="7780627" cy="350837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2000">
                <a:solidFill>
                  <a:srgbClr val="18958C"/>
                </a:solidFill>
              </a:defRPr>
            </a:lvl1pPr>
          </a:lstStyle>
          <a:p>
            <a:pPr lvl="0"/>
            <a:r>
              <a:rPr lang="es-ES"/>
              <a:t>Clic para editar subtítulo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84739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093" y="6340580"/>
            <a:ext cx="1490131" cy="4896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5" y="6392072"/>
            <a:ext cx="26108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s-ES_tradnl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87736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/>
              <a:pPr/>
              <a:t>‹Nº›</a:t>
            </a:fld>
            <a:endParaRPr lang="es-ES_tradnl"/>
          </a:p>
        </p:txBody>
      </p:sp>
      <p:cxnSp>
        <p:nvCxnSpPr>
          <p:cNvPr id="11" name="Conector recto 10"/>
          <p:cNvCxnSpPr/>
          <p:nvPr userDrawn="1"/>
        </p:nvCxnSpPr>
        <p:spPr>
          <a:xfrm>
            <a:off x="466732" y="6312759"/>
            <a:ext cx="1124902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texto 12"/>
          <p:cNvSpPr>
            <a:spLocks noGrp="1"/>
          </p:cNvSpPr>
          <p:nvPr>
            <p:ph type="body" sz="quarter" idx="13"/>
          </p:nvPr>
        </p:nvSpPr>
        <p:spPr>
          <a:xfrm>
            <a:off x="467784" y="1689650"/>
            <a:ext cx="11260920" cy="4295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457155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0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46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618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0"/>
            <a:endParaRPr lang="es-ES_tradnl"/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9" y="356459"/>
            <a:ext cx="11247967" cy="1198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55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0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46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618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745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ver_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139E271-A153-B249-8CC8-25C27BC199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000" y="433918"/>
            <a:ext cx="11381117" cy="443199"/>
          </a:xfrm>
        </p:spPr>
        <p:txBody>
          <a:bodyPr wrap="square" lIns="0" tIns="0" rIns="0" bIns="0">
            <a:spAutoFit/>
          </a:bodyPr>
          <a:lstStyle>
            <a:lvl1pPr>
              <a:defRPr lang="es-ES" sz="3200" b="1" smtClean="0">
                <a:solidFill>
                  <a:schemeClr val="accent1"/>
                </a:solidFill>
                <a:effectLst/>
              </a:defRPr>
            </a:lvl1pPr>
            <a:lvl2pPr marL="8466" indent="0">
              <a:spcBef>
                <a:spcPts val="0"/>
              </a:spcBef>
              <a:buFontTx/>
              <a:buNone/>
              <a:tabLst/>
              <a:defRPr b="1">
                <a:solidFill>
                  <a:schemeClr val="accent1"/>
                </a:solidFill>
              </a:defRPr>
            </a:lvl2pPr>
          </a:lstStyle>
          <a:p>
            <a:r>
              <a:rPr lang="es-ES" err="1">
                <a:solidFill>
                  <a:srgbClr val="002855"/>
                </a:solidFill>
                <a:effectLst/>
                <a:latin typeface="Arial" panose="020B0604020202020204" pitchFamily="34" charset="0"/>
              </a:rPr>
              <a:t>Slide</a:t>
            </a:r>
            <a:r>
              <a:rPr lang="es-ES">
                <a:solidFill>
                  <a:srgbClr val="002855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s-ES" err="1">
                <a:solidFill>
                  <a:srgbClr val="002855"/>
                </a:solidFill>
                <a:effectLst/>
                <a:latin typeface="Arial" panose="020B0604020202020204" pitchFamily="34" charset="0"/>
              </a:rPr>
              <a:t>title</a:t>
            </a:r>
            <a:r>
              <a:rPr lang="es-ES">
                <a:solidFill>
                  <a:srgbClr val="002855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s-ES" err="1">
                <a:solidFill>
                  <a:srgbClr val="002855"/>
                </a:solidFill>
                <a:effectLst/>
                <a:latin typeface="Arial" panose="020B0604020202020204" pitchFamily="34" charset="0"/>
              </a:rPr>
              <a:t>is</a:t>
            </a:r>
            <a:r>
              <a:rPr lang="es-ES">
                <a:solidFill>
                  <a:srgbClr val="002855"/>
                </a:solidFill>
                <a:effectLst/>
                <a:latin typeface="Arial" panose="020B0604020202020204" pitchFamily="34" charset="0"/>
              </a:rPr>
              <a:t> Arial Regular 24pt</a:t>
            </a:r>
          </a:p>
        </p:txBody>
      </p:sp>
      <p:sp>
        <p:nvSpPr>
          <p:cNvPr id="26" name="Marcador de texto 11">
            <a:extLst>
              <a:ext uri="{FF2B5EF4-FFF2-40B4-BE49-F238E27FC236}">
                <a16:creationId xmlns:a16="http://schemas.microsoft.com/office/drawing/2014/main" id="{A34B31BF-1F52-B047-A456-4DC200A60A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2901" y="1221317"/>
            <a:ext cx="10607545" cy="3358904"/>
          </a:xfrm>
        </p:spPr>
        <p:txBody>
          <a:bodyPr lIns="0" tIns="0" rIns="0" bIns="0">
            <a:noAutofit/>
          </a:bodyPr>
          <a:lstStyle>
            <a:lvl1pPr marL="609585" marR="0" indent="-609585" algn="l" defTabSz="29039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24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sectetue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enean</a:t>
            </a:r>
            <a:r>
              <a:rPr lang="es-ES"/>
              <a:t> commodo </a:t>
            </a:r>
            <a:r>
              <a:rPr lang="es-ES" err="1"/>
              <a:t>ligula</a:t>
            </a:r>
            <a:r>
              <a:rPr lang="es-ES"/>
              <a:t> </a:t>
            </a:r>
            <a:r>
              <a:rPr lang="es-ES" err="1"/>
              <a:t>eget</a:t>
            </a:r>
            <a:r>
              <a:rPr lang="es-ES"/>
              <a:t> dolor. </a:t>
            </a:r>
            <a:r>
              <a:rPr lang="es-ES" err="1"/>
              <a:t>Aenean</a:t>
            </a:r>
            <a:r>
              <a:rPr lang="es-ES"/>
              <a:t>.</a:t>
            </a:r>
          </a:p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e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enean</a:t>
            </a:r>
            <a:r>
              <a:rPr lang="es-ES"/>
              <a:t> commodo </a:t>
            </a:r>
            <a:r>
              <a:rPr lang="es-ES" err="1"/>
              <a:t>ligula</a:t>
            </a:r>
            <a:r>
              <a:rPr lang="es-ES"/>
              <a:t> </a:t>
            </a:r>
            <a:r>
              <a:rPr lang="es-ES" err="1"/>
              <a:t>eget</a:t>
            </a:r>
            <a:r>
              <a:rPr lang="es-ES"/>
              <a:t> dolor. </a:t>
            </a:r>
            <a:r>
              <a:rPr lang="es-ES" err="1"/>
              <a:t>Aenean</a:t>
            </a:r>
            <a:r>
              <a:rPr lang="es-ES"/>
              <a:t> </a:t>
            </a:r>
            <a:r>
              <a:rPr lang="es-ES" err="1"/>
              <a:t>massa</a:t>
            </a:r>
            <a:r>
              <a:rPr lang="es-ES"/>
              <a:t>. Cum </a:t>
            </a:r>
            <a:r>
              <a:rPr lang="es-ES" err="1"/>
              <a:t>sociis</a:t>
            </a:r>
            <a:r>
              <a:rPr lang="es-ES"/>
              <a:t>.</a:t>
            </a:r>
          </a:p>
          <a:p>
            <a:pPr lvl="0"/>
            <a:r>
              <a:rPr lang="es-ES" err="1"/>
              <a:t>C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enean</a:t>
            </a:r>
            <a:r>
              <a:rPr lang="es-ES"/>
              <a:t> commodo </a:t>
            </a:r>
            <a:r>
              <a:rPr lang="es-ES" err="1"/>
              <a:t>ligula</a:t>
            </a:r>
            <a:r>
              <a:rPr lang="es-ES"/>
              <a:t> </a:t>
            </a:r>
            <a:r>
              <a:rPr lang="es-ES" err="1"/>
              <a:t>eget</a:t>
            </a:r>
            <a:r>
              <a:rPr lang="es-ES"/>
              <a:t> dolor. </a:t>
            </a:r>
            <a:r>
              <a:rPr lang="es-ES" err="1"/>
              <a:t>Aenean</a:t>
            </a:r>
            <a:r>
              <a:rPr lang="es-ES"/>
              <a:t> </a:t>
            </a:r>
            <a:r>
              <a:rPr lang="es-ES" err="1"/>
              <a:t>massa</a:t>
            </a:r>
            <a:r>
              <a:rPr lang="es-ES"/>
              <a:t>. </a:t>
            </a:r>
            <a:br>
              <a:rPr lang="es-ES"/>
            </a:br>
            <a:r>
              <a:rPr lang="es-ES"/>
              <a:t>cum </a:t>
            </a:r>
            <a:r>
              <a:rPr lang="es-ES" err="1"/>
              <a:t>sociis</a:t>
            </a:r>
            <a:r>
              <a:rPr lang="es-ES"/>
              <a:t> </a:t>
            </a:r>
            <a:r>
              <a:rPr lang="es-ES" err="1"/>
              <a:t>nat</a:t>
            </a:r>
            <a:r>
              <a:rPr lang="es-ES"/>
              <a:t> </a:t>
            </a:r>
            <a:r>
              <a:rPr lang="es-ES" err="1"/>
              <a:t>consectetue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.</a:t>
            </a:r>
          </a:p>
          <a:p>
            <a:pPr marL="609585" marR="0" lvl="0" indent="-609585" algn="l" defTabSz="62638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sectetue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enean</a:t>
            </a:r>
            <a:r>
              <a:rPr lang="es-ES"/>
              <a:t> commodo </a:t>
            </a:r>
            <a:r>
              <a:rPr lang="es-ES" err="1"/>
              <a:t>ligula</a:t>
            </a:r>
            <a:r>
              <a:rPr lang="es-ES"/>
              <a:t> </a:t>
            </a:r>
            <a:r>
              <a:rPr lang="es-ES" err="1"/>
              <a:t>eget</a:t>
            </a:r>
            <a:r>
              <a:rPr lang="es-ES"/>
              <a:t> dolor. </a:t>
            </a:r>
            <a:r>
              <a:rPr lang="es-ES" err="1"/>
              <a:t>Aenean</a:t>
            </a:r>
            <a:r>
              <a:rPr lang="es-ES"/>
              <a:t>.</a:t>
            </a:r>
          </a:p>
          <a:p>
            <a:pPr lvl="0"/>
            <a:endParaRPr lang="es-ES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21C38BF8-5EA0-A443-A7F6-399BF12E3C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2751" y="6157384"/>
            <a:ext cx="9520767" cy="474867"/>
          </a:xfrm>
        </p:spPr>
        <p:txBody>
          <a:bodyPr lIns="0" tIns="0" rIns="0" bIns="0">
            <a:normAutofit/>
          </a:bodyPr>
          <a:lstStyle>
            <a:lvl1pPr>
              <a:defRPr sz="933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e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enean</a:t>
            </a:r>
            <a:r>
              <a:rPr lang="es-ES"/>
              <a:t> commodo </a:t>
            </a:r>
            <a:r>
              <a:rPr lang="es-ES" err="1"/>
              <a:t>ligula</a:t>
            </a:r>
            <a:r>
              <a:rPr lang="es-ES"/>
              <a:t> </a:t>
            </a:r>
            <a:r>
              <a:rPr lang="es-ES" err="1"/>
              <a:t>eget</a:t>
            </a:r>
            <a:r>
              <a:rPr lang="es-ES"/>
              <a:t> dolor. </a:t>
            </a:r>
            <a:r>
              <a:rPr lang="es-ES" err="1"/>
              <a:t>Aenean</a:t>
            </a:r>
            <a:r>
              <a:rPr lang="es-ES"/>
              <a:t> </a:t>
            </a:r>
            <a:r>
              <a:rPr lang="es-ES" err="1"/>
              <a:t>massa</a:t>
            </a:r>
            <a:r>
              <a:rPr lang="es-ES"/>
              <a:t>. Cum </a:t>
            </a:r>
            <a:r>
              <a:rPr lang="es-ES" err="1"/>
              <a:t>sociis</a:t>
            </a:r>
            <a:r>
              <a:rPr lang="es-ES"/>
              <a:t> </a:t>
            </a:r>
            <a:r>
              <a:rPr lang="es-ES" err="1"/>
              <a:t>natoque</a:t>
            </a:r>
            <a:r>
              <a:rPr lang="es-ES"/>
              <a:t> </a:t>
            </a:r>
            <a:r>
              <a:rPr lang="es-ES" err="1"/>
              <a:t>penatibus</a:t>
            </a:r>
            <a:r>
              <a:rPr lang="es-ES"/>
              <a:t> et </a:t>
            </a:r>
            <a:r>
              <a:rPr lang="es-ES" err="1"/>
              <a:t>magnis</a:t>
            </a:r>
            <a:r>
              <a:rPr lang="es-ES"/>
              <a:t> </a:t>
            </a:r>
            <a:r>
              <a:rPr lang="es-ES" err="1"/>
              <a:t>dis</a:t>
            </a:r>
            <a:r>
              <a:rPr lang="es-ES"/>
              <a:t> </a:t>
            </a:r>
            <a:r>
              <a:rPr lang="es-ES" err="1"/>
              <a:t>parturient</a:t>
            </a:r>
            <a:r>
              <a:rPr lang="es-ES"/>
              <a:t> montes, </a:t>
            </a:r>
            <a:r>
              <a:rPr lang="es-ES" err="1"/>
              <a:t>nascetur</a:t>
            </a:r>
            <a:r>
              <a:rPr lang="es-ES"/>
              <a:t> </a:t>
            </a:r>
            <a:r>
              <a:rPr lang="es-ES" err="1"/>
              <a:t>ridiculus</a:t>
            </a:r>
            <a:r>
              <a:rPr lang="es-ES"/>
              <a:t> mus. </a:t>
            </a:r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e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enean</a:t>
            </a:r>
            <a:r>
              <a:rPr lang="es-ES"/>
              <a:t> commodo </a:t>
            </a:r>
            <a:r>
              <a:rPr lang="es-ES" err="1"/>
              <a:t>ligula</a:t>
            </a:r>
            <a:r>
              <a:rPr lang="es-ES"/>
              <a:t> </a:t>
            </a:r>
            <a:r>
              <a:rPr lang="es-ES" err="1"/>
              <a:t>eget</a:t>
            </a:r>
            <a:r>
              <a:rPr lang="es-ES"/>
              <a:t> dolor. </a:t>
            </a:r>
            <a:r>
              <a:rPr lang="es-ES" err="1"/>
              <a:t>Aenean</a:t>
            </a:r>
            <a:r>
              <a:rPr lang="es-ES"/>
              <a:t> </a:t>
            </a:r>
            <a:r>
              <a:rPr lang="es-ES" err="1"/>
              <a:t>massa</a:t>
            </a:r>
            <a:r>
              <a:rPr lang="es-ES"/>
              <a:t>. Cum </a:t>
            </a:r>
            <a:r>
              <a:rPr lang="es-ES" err="1"/>
              <a:t>sociis</a:t>
            </a:r>
            <a:r>
              <a:rPr lang="es-ES"/>
              <a:t> </a:t>
            </a:r>
            <a:r>
              <a:rPr lang="es-ES" err="1"/>
              <a:t>natoque</a:t>
            </a:r>
            <a:r>
              <a:rPr lang="es-ES"/>
              <a:t> </a:t>
            </a:r>
            <a:r>
              <a:rPr lang="es-ES" err="1"/>
              <a:t>penatibus</a:t>
            </a:r>
            <a:r>
              <a:rPr lang="es-ES"/>
              <a:t> et </a:t>
            </a:r>
            <a:r>
              <a:rPr lang="es-ES" err="1"/>
              <a:t>magnis</a:t>
            </a:r>
            <a:r>
              <a:rPr lang="es-ES"/>
              <a:t> </a:t>
            </a:r>
            <a:r>
              <a:rPr lang="es-ES" err="1"/>
              <a:t>dis</a:t>
            </a:r>
            <a:r>
              <a:rPr lang="es-ES"/>
              <a:t> </a:t>
            </a:r>
            <a:r>
              <a:rPr lang="es-ES" err="1"/>
              <a:t>parturient</a:t>
            </a:r>
            <a:r>
              <a:rPr lang="es-ES"/>
              <a:t> montes, </a:t>
            </a:r>
            <a:r>
              <a:rPr lang="es-ES" err="1"/>
              <a:t>nascetur</a:t>
            </a:r>
            <a:r>
              <a:rPr lang="es-ES"/>
              <a:t> </a:t>
            </a:r>
            <a:r>
              <a:rPr lang="es-ES" err="1"/>
              <a:t>ridiculus</a:t>
            </a:r>
            <a:r>
              <a:rPr lang="es-ES"/>
              <a:t> mus. </a:t>
            </a:r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e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enean</a:t>
            </a:r>
            <a:r>
              <a:rPr lang="es-ES"/>
              <a:t> commodo </a:t>
            </a:r>
            <a:r>
              <a:rPr lang="es-ES" err="1"/>
              <a:t>ligula</a:t>
            </a:r>
            <a:r>
              <a:rPr lang="es-ES"/>
              <a:t> </a:t>
            </a:r>
            <a:r>
              <a:rPr lang="es-ES" err="1"/>
              <a:t>eget</a:t>
            </a:r>
            <a:r>
              <a:rPr lang="es-ES"/>
              <a:t> dolor. </a:t>
            </a:r>
            <a:r>
              <a:rPr lang="es-ES" err="1"/>
              <a:t>Aenean</a:t>
            </a:r>
            <a:r>
              <a:rPr lang="es-ES"/>
              <a:t> </a:t>
            </a:r>
            <a:r>
              <a:rPr lang="es-ES" err="1"/>
              <a:t>massa</a:t>
            </a:r>
            <a:r>
              <a:rPr lang="es-ES"/>
              <a:t>. Cum </a:t>
            </a:r>
            <a:r>
              <a:rPr lang="es-ES" err="1"/>
              <a:t>sociis</a:t>
            </a:r>
            <a:r>
              <a:rPr lang="es-ES"/>
              <a:t> </a:t>
            </a:r>
            <a:r>
              <a:rPr lang="es-ES" err="1"/>
              <a:t>natoque</a:t>
            </a:r>
            <a:r>
              <a:rPr lang="es-ES"/>
              <a:t> </a:t>
            </a:r>
            <a:r>
              <a:rPr lang="es-ES" err="1"/>
              <a:t>penatibus</a:t>
            </a:r>
            <a:r>
              <a:rPr lang="es-ES"/>
              <a:t> et </a:t>
            </a:r>
            <a:r>
              <a:rPr lang="es-ES" err="1"/>
              <a:t>magnis</a:t>
            </a:r>
            <a:r>
              <a:rPr lang="es-ES"/>
              <a:t> </a:t>
            </a:r>
            <a:r>
              <a:rPr lang="es-ES" err="1"/>
              <a:t>dis</a:t>
            </a:r>
            <a:r>
              <a:rPr lang="es-ES"/>
              <a:t> </a:t>
            </a:r>
            <a:r>
              <a:rPr lang="es-ES" err="1"/>
              <a:t>parturient</a:t>
            </a:r>
            <a:r>
              <a:rPr lang="es-ES"/>
              <a:t> montes, </a:t>
            </a:r>
            <a:r>
              <a:rPr lang="es-ES" err="1"/>
              <a:t>nascetur</a:t>
            </a:r>
            <a:r>
              <a:rPr lang="es-ES"/>
              <a:t> </a:t>
            </a:r>
            <a:r>
              <a:rPr lang="es-ES" err="1"/>
              <a:t>ridiculus</a:t>
            </a:r>
            <a:r>
              <a:rPr lang="es-ES"/>
              <a:t> mus.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11227D69-FB21-C8A8-2EDD-7D5941771C70}"/>
              </a:ext>
            </a:extLst>
          </p:cNvPr>
          <p:cNvPicPr>
            <a:picLocks noChangeAspect="1"/>
          </p:cNvPicPr>
          <p:nvPr userDrawn="1"/>
        </p:nvPicPr>
        <p:blipFill>
          <a:blip r:embed="rId2" r:link="rId3"/>
          <a:srcRect/>
          <a:stretch>
            <a:fillRect/>
          </a:stretch>
        </p:blipFill>
        <p:spPr>
          <a:xfrm>
            <a:off x="11338250" y="6186649"/>
            <a:ext cx="474868" cy="47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71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Comp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7A2548C3-A227-C0F8-114C-81F9F3E3D4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5BD8244B-4A44-13A0-FF46-EEC0DB7909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597" r="19800" b="17542"/>
          <a:stretch/>
        </p:blipFill>
        <p:spPr>
          <a:xfrm>
            <a:off x="10549263" y="5926412"/>
            <a:ext cx="1311153" cy="715020"/>
          </a:xfrm>
          <a:prstGeom prst="rect">
            <a:avLst/>
          </a:prstGeom>
        </p:spPr>
      </p:pic>
      <p:pic>
        <p:nvPicPr>
          <p:cNvPr id="11" name="Imagen 10" descr="Logotipo&#10;&#10;Descripción generada automáticamente">
            <a:extLst>
              <a:ext uri="{FF2B5EF4-FFF2-40B4-BE49-F238E27FC236}">
                <a16:creationId xmlns:a16="http://schemas.microsoft.com/office/drawing/2014/main" id="{6266CB40-FAA1-1735-DAF2-5F316E382F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4033" y="34092"/>
            <a:ext cx="2542516" cy="1237693"/>
          </a:xfrm>
          <a:prstGeom prst="rect">
            <a:avLst/>
          </a:prstGeom>
        </p:spPr>
      </p:pic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EA61E3E6-22F9-54E5-77FF-0FE99EDA7C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248977"/>
            <a:ext cx="2743200" cy="365125"/>
          </a:xfrm>
        </p:spPr>
        <p:txBody>
          <a:bodyPr/>
          <a:lstStyle>
            <a:lvl1pPr algn="ctr">
              <a:defRPr sz="1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8D0AF27-2EDE-6846-BB61-B3989FA6B24B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3894593E-9BD4-1A23-858C-090120619E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50" y="1629111"/>
            <a:ext cx="9869888" cy="385729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ES"/>
          </a:p>
        </p:txBody>
      </p:sp>
      <p:sp>
        <p:nvSpPr>
          <p:cNvPr id="4" name="Text Placeholder 22">
            <a:extLst>
              <a:ext uri="{FF2B5EF4-FFF2-40B4-BE49-F238E27FC236}">
                <a16:creationId xmlns:a16="http://schemas.microsoft.com/office/drawing/2014/main" id="{CEF85ABE-5E66-5203-2AED-E5A0C35DD2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838" y="490538"/>
            <a:ext cx="8675401" cy="84311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="1">
                <a:solidFill>
                  <a:srgbClr val="E93C3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Arial Regular 26pt</a:t>
            </a:r>
          </a:p>
        </p:txBody>
      </p:sp>
      <p:pic>
        <p:nvPicPr>
          <p:cNvPr id="9" name="Imagen 8" descr="Texto&#10;&#10;Descripción generada automáticamente">
            <a:extLst>
              <a:ext uri="{FF2B5EF4-FFF2-40B4-BE49-F238E27FC236}">
                <a16:creationId xmlns:a16="http://schemas.microsoft.com/office/drawing/2014/main" id="{C6D418E5-C05F-43A5-3F1B-5C30A60AD45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584" y="6191814"/>
            <a:ext cx="1538170" cy="37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352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cipa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247685A9-F3CC-9373-8D6D-27581692F7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3751" y="0"/>
            <a:ext cx="12217209" cy="6872180"/>
          </a:xfrm>
          <a:prstGeom prst="rect">
            <a:avLst/>
          </a:prstGeom>
        </p:spPr>
      </p:pic>
      <p:pic>
        <p:nvPicPr>
          <p:cNvPr id="2" name="Imagen 1" descr="Logotipo&#10;&#10;Descripción generada automáticamente">
            <a:extLst>
              <a:ext uri="{FF2B5EF4-FFF2-40B4-BE49-F238E27FC236}">
                <a16:creationId xmlns:a16="http://schemas.microsoft.com/office/drawing/2014/main" id="{F24118C8-E790-A457-184D-EDE5602EAD4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625" y="1922728"/>
            <a:ext cx="6899968" cy="3358895"/>
          </a:xfrm>
          <a:prstGeom prst="rect">
            <a:avLst/>
          </a:prstGeom>
        </p:spPr>
      </p:pic>
      <p:pic>
        <p:nvPicPr>
          <p:cNvPr id="8" name="Gráfico 7">
            <a:extLst>
              <a:ext uri="{FF2B5EF4-FFF2-40B4-BE49-F238E27FC236}">
                <a16:creationId xmlns:a16="http://schemas.microsoft.com/office/drawing/2014/main" id="{F670CAA6-6E8E-2A39-DCAB-41F3E5C842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6597" r="19800" b="17542"/>
          <a:stretch/>
        </p:blipFill>
        <p:spPr>
          <a:xfrm>
            <a:off x="10549263" y="5926412"/>
            <a:ext cx="1311153" cy="715020"/>
          </a:xfrm>
          <a:prstGeom prst="rect">
            <a:avLst/>
          </a:prstGeom>
        </p:spPr>
      </p:pic>
      <p:grpSp>
        <p:nvGrpSpPr>
          <p:cNvPr id="10" name="Grupo 9">
            <a:extLst>
              <a:ext uri="{FF2B5EF4-FFF2-40B4-BE49-F238E27FC236}">
                <a16:creationId xmlns:a16="http://schemas.microsoft.com/office/drawing/2014/main" id="{955CA600-88DF-18F6-E8A8-56221FB1DD66}"/>
              </a:ext>
            </a:extLst>
          </p:cNvPr>
          <p:cNvGrpSpPr/>
          <p:nvPr userDrawn="1"/>
        </p:nvGrpSpPr>
        <p:grpSpPr>
          <a:xfrm>
            <a:off x="243803" y="6283922"/>
            <a:ext cx="6325610" cy="415498"/>
            <a:chOff x="243803" y="6283922"/>
            <a:chExt cx="6325610" cy="415498"/>
          </a:xfrm>
        </p:grpSpPr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0842B8C9-9566-9D36-ABB2-35D6669EF0EA}"/>
                </a:ext>
              </a:extLst>
            </p:cNvPr>
            <p:cNvSpPr txBox="1"/>
            <p:nvPr userDrawn="1"/>
          </p:nvSpPr>
          <p:spPr>
            <a:xfrm>
              <a:off x="331584" y="6283922"/>
              <a:ext cx="623782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70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Este medicamento está sujeto a seguimiento adicional, lo que agilizará la detección de nueva información sobre su seguridad. Se invita a los profesionales sanitarios a notificar las sospecha de reacciones adversas. Ver la sección 4.8, en la que se incluye información sobre como notificarlas.</a:t>
              </a:r>
            </a:p>
            <a:p>
              <a:pPr algn="r"/>
              <a:endParaRPr lang="es-ES" sz="7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Triángulo 11">
              <a:extLst>
                <a:ext uri="{FF2B5EF4-FFF2-40B4-BE49-F238E27FC236}">
                  <a16:creationId xmlns:a16="http://schemas.microsoft.com/office/drawing/2014/main" id="{5FD1FC06-75EE-E9B2-DAAB-96402BAF643F}"/>
                </a:ext>
              </a:extLst>
            </p:cNvPr>
            <p:cNvSpPr/>
            <p:nvPr userDrawn="1"/>
          </p:nvSpPr>
          <p:spPr>
            <a:xfrm rot="10800000">
              <a:off x="243803" y="6343517"/>
              <a:ext cx="110712" cy="954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4" name="Imagen 3" descr="Texto&#10;&#10;Descripción generada automáticamente">
            <a:extLst>
              <a:ext uri="{FF2B5EF4-FFF2-40B4-BE49-F238E27FC236}">
                <a16:creationId xmlns:a16="http://schemas.microsoft.com/office/drawing/2014/main" id="{65840620-A9CB-CCDB-EE10-94E9F84EBBA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1761" y="346351"/>
            <a:ext cx="2138655" cy="518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256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incipal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áfico 7">
            <a:extLst>
              <a:ext uri="{FF2B5EF4-FFF2-40B4-BE49-F238E27FC236}">
                <a16:creationId xmlns:a16="http://schemas.microsoft.com/office/drawing/2014/main" id="{F670CAA6-6E8E-2A39-DCAB-41F3E5C842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597" r="19800" b="17542"/>
          <a:stretch/>
        </p:blipFill>
        <p:spPr>
          <a:xfrm>
            <a:off x="10549263" y="5926412"/>
            <a:ext cx="1311153" cy="71502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CDC1A3C-0949-08F6-3BD0-3FF4DF6699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305" y="3009848"/>
            <a:ext cx="4701703" cy="1069252"/>
          </a:xfrm>
        </p:spPr>
        <p:txBody>
          <a:bodyPr lIns="0" anchor="t" anchorCtr="0">
            <a:noAutofit/>
          </a:bodyPr>
          <a:lstStyle>
            <a:lvl1pPr>
              <a:defRPr sz="3200" b="1" i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err="1"/>
              <a:t>Título</a:t>
            </a:r>
            <a:r>
              <a:rPr lang="en-GB"/>
              <a:t> del </a:t>
            </a:r>
            <a:r>
              <a:rPr lang="en-GB" err="1"/>
              <a:t>caso</a:t>
            </a:r>
            <a:r>
              <a:rPr lang="en-GB"/>
              <a:t> </a:t>
            </a:r>
            <a:r>
              <a:rPr lang="en-GB" err="1"/>
              <a:t>clínico</a:t>
            </a:r>
            <a:r>
              <a:rPr lang="en-GB"/>
              <a:t> Arial 32pt</a:t>
            </a:r>
            <a:endParaRPr lang="en-E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59DF00A-4CDD-C087-03D2-D5559A6C4114}"/>
              </a:ext>
            </a:extLst>
          </p:cNvPr>
          <p:cNvSpPr txBox="1">
            <a:spLocks/>
          </p:cNvSpPr>
          <p:nvPr userDrawn="1"/>
        </p:nvSpPr>
        <p:spPr>
          <a:xfrm>
            <a:off x="6180305" y="2531050"/>
            <a:ext cx="4701703" cy="354121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00285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2400">
                <a:solidFill>
                  <a:srgbClr val="E93C3D"/>
                </a:solidFill>
              </a:rPr>
              <a:t>CASO CLÍNICO</a:t>
            </a:r>
            <a:endParaRPr lang="en-ES" sz="2400">
              <a:solidFill>
                <a:srgbClr val="E93C3D"/>
              </a:solidFill>
            </a:endParaRP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608BC12-BB2A-8654-4DEE-95EC1419193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0305" y="4230848"/>
            <a:ext cx="4701703" cy="235250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Nombre</a:t>
            </a:r>
            <a:r>
              <a:rPr lang="en-GB"/>
              <a:t> y </a:t>
            </a:r>
            <a:r>
              <a:rPr lang="en-GB" err="1"/>
              <a:t>Apellidos</a:t>
            </a:r>
            <a:endParaRPr lang="en-GB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9C6EB742-EBA2-6A8A-D05A-D900FA11959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0305" y="4528559"/>
            <a:ext cx="4701703" cy="235250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Nombre</a:t>
            </a:r>
            <a:r>
              <a:rPr lang="en-GB"/>
              <a:t> del Hospital</a:t>
            </a:r>
          </a:p>
        </p:txBody>
      </p:sp>
      <p:pic>
        <p:nvPicPr>
          <p:cNvPr id="15" name="Imagen 14" descr="Logotipo&#10;&#10;Descripción generada automáticamente">
            <a:extLst>
              <a:ext uri="{FF2B5EF4-FFF2-40B4-BE49-F238E27FC236}">
                <a16:creationId xmlns:a16="http://schemas.microsoft.com/office/drawing/2014/main" id="{C91A2637-A0C8-AAEB-C07E-7CC23D057E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6983" y="0"/>
            <a:ext cx="3905017" cy="1900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25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Patrón de fondo&#10;&#10;Descripción generada automáticamente">
            <a:extLst>
              <a:ext uri="{FF2B5EF4-FFF2-40B4-BE49-F238E27FC236}">
                <a16:creationId xmlns:a16="http://schemas.microsoft.com/office/drawing/2014/main" id="{AF805C04-8253-CE7A-AC56-CBD4727DC7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2">
            <a:extLst>
              <a:ext uri="{FF2B5EF4-FFF2-40B4-BE49-F238E27FC236}">
                <a16:creationId xmlns:a16="http://schemas.microsoft.com/office/drawing/2014/main" id="{A4BE93CD-EA4E-61BC-4D6B-8B6C9BF242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21016" y="3007443"/>
            <a:ext cx="5799441" cy="843114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Arial Regular 26pt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DEEAA73A-714F-9982-45D6-1BE1B9F6F3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597" r="19800" b="17542"/>
          <a:stretch/>
        </p:blipFill>
        <p:spPr>
          <a:xfrm>
            <a:off x="10549263" y="5926412"/>
            <a:ext cx="1311153" cy="71502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3D79843D-E583-7283-B5AD-247EF126654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86984" y="0"/>
            <a:ext cx="3905014" cy="1900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884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- Comp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5BD8244B-4A44-13A0-FF46-EEC0DB7909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597" r="19800" b="17542"/>
          <a:stretch/>
        </p:blipFill>
        <p:spPr>
          <a:xfrm>
            <a:off x="10555884" y="6128766"/>
            <a:ext cx="1191407" cy="649718"/>
          </a:xfrm>
          <a:prstGeom prst="rect">
            <a:avLst/>
          </a:prstGeom>
        </p:spPr>
      </p:pic>
      <p:pic>
        <p:nvPicPr>
          <p:cNvPr id="11" name="Imagen 10" descr="Logotipo&#10;&#10;Descripción generada automáticamente">
            <a:extLst>
              <a:ext uri="{FF2B5EF4-FFF2-40B4-BE49-F238E27FC236}">
                <a16:creationId xmlns:a16="http://schemas.microsoft.com/office/drawing/2014/main" id="{6266CB40-FAA1-1735-DAF2-5F316E382F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4033" y="34092"/>
            <a:ext cx="2542516" cy="1237693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3894593E-9BD4-1A23-858C-090120619E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50" y="1629111"/>
            <a:ext cx="9869888" cy="385729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ES"/>
          </a:p>
        </p:txBody>
      </p:sp>
      <p:sp>
        <p:nvSpPr>
          <p:cNvPr id="4" name="Text Placeholder 22">
            <a:extLst>
              <a:ext uri="{FF2B5EF4-FFF2-40B4-BE49-F238E27FC236}">
                <a16:creationId xmlns:a16="http://schemas.microsoft.com/office/drawing/2014/main" id="{CEF85ABE-5E66-5203-2AED-E5A0C35DD2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838" y="490538"/>
            <a:ext cx="8675401" cy="84311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="1">
                <a:solidFill>
                  <a:srgbClr val="E93C3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Arial Regular 26pt</a:t>
            </a:r>
          </a:p>
        </p:txBody>
      </p:sp>
      <p:cxnSp>
        <p:nvCxnSpPr>
          <p:cNvPr id="2" name="Conector recto 1">
            <a:extLst>
              <a:ext uri="{FF2B5EF4-FFF2-40B4-BE49-F238E27FC236}">
                <a16:creationId xmlns:a16="http://schemas.microsoft.com/office/drawing/2014/main" id="{B5E55B63-877C-A280-2E0A-2CB38150BCC7}"/>
              </a:ext>
            </a:extLst>
          </p:cNvPr>
          <p:cNvCxnSpPr/>
          <p:nvPr userDrawn="1"/>
        </p:nvCxnSpPr>
        <p:spPr>
          <a:xfrm>
            <a:off x="527336" y="6193490"/>
            <a:ext cx="11389396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45774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- Comp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Patrón de fondo&#10;&#10;Descripción generada automáticamente con confianza baja">
            <a:extLst>
              <a:ext uri="{FF2B5EF4-FFF2-40B4-BE49-F238E27FC236}">
                <a16:creationId xmlns:a16="http://schemas.microsoft.com/office/drawing/2014/main" id="{02683D20-4BA1-E183-BA41-97BE3524B0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53BA9048-C2ED-9E41-CA3D-72852AFEF5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3723" y="4291643"/>
            <a:ext cx="2530590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ES"/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6F228CC7-D296-68D0-9A37-517A3BFA47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98134" y="4291643"/>
            <a:ext cx="2530590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ES"/>
          </a:p>
        </p:txBody>
      </p:sp>
      <p:sp>
        <p:nvSpPr>
          <p:cNvPr id="17" name="Marcador de posición de imagen 4">
            <a:extLst>
              <a:ext uri="{FF2B5EF4-FFF2-40B4-BE49-F238E27FC236}">
                <a16:creationId xmlns:a16="http://schemas.microsoft.com/office/drawing/2014/main" id="{9BD4FA73-7F14-DA95-2C02-DCF694F539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57517" y="1638537"/>
            <a:ext cx="2542516" cy="233870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ES"/>
          </a:p>
        </p:txBody>
      </p:sp>
      <p:sp>
        <p:nvSpPr>
          <p:cNvPr id="18" name="Marcador de posición de imagen 5">
            <a:extLst>
              <a:ext uri="{FF2B5EF4-FFF2-40B4-BE49-F238E27FC236}">
                <a16:creationId xmlns:a16="http://schemas.microsoft.com/office/drawing/2014/main" id="{B4E5176F-FFAC-770A-DD1F-8E1C564042D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83723" y="1638537"/>
            <a:ext cx="2542516" cy="233870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ES"/>
          </a:p>
        </p:txBody>
      </p:sp>
      <p:sp>
        <p:nvSpPr>
          <p:cNvPr id="19" name="Marcador de posición de imagen 6">
            <a:extLst>
              <a:ext uri="{FF2B5EF4-FFF2-40B4-BE49-F238E27FC236}">
                <a16:creationId xmlns:a16="http://schemas.microsoft.com/office/drawing/2014/main" id="{7F477137-A20D-4CD8-420E-6A1097F7AA2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98134" y="1638537"/>
            <a:ext cx="2542516" cy="2338702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ES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24651006-06E3-01D0-944E-C3561145C4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350" y="1629111"/>
            <a:ext cx="3034272" cy="385729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ES"/>
          </a:p>
        </p:txBody>
      </p:sp>
      <p:sp>
        <p:nvSpPr>
          <p:cNvPr id="21" name="Marcador de texto 8">
            <a:extLst>
              <a:ext uri="{FF2B5EF4-FFF2-40B4-BE49-F238E27FC236}">
                <a16:creationId xmlns:a16="http://schemas.microsoft.com/office/drawing/2014/main" id="{B909DB41-F78D-4548-5D3B-2FA0EE56FC2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49022" y="4291643"/>
            <a:ext cx="2530590" cy="119475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None/>
              <a:defRPr sz="14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E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C484569-4796-F184-09F3-532FBFE33C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838" y="490538"/>
            <a:ext cx="8675401" cy="84311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="1">
                <a:solidFill>
                  <a:srgbClr val="E93C3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Arial Regular 26pt</a:t>
            </a:r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223ECB9A-8E7C-AB50-EF6A-5D87A954D4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6597" r="19800" b="17542"/>
          <a:stretch/>
        </p:blipFill>
        <p:spPr>
          <a:xfrm>
            <a:off x="10549263" y="5926412"/>
            <a:ext cx="1311153" cy="715020"/>
          </a:xfrm>
          <a:prstGeom prst="rect">
            <a:avLst/>
          </a:prstGeom>
        </p:spPr>
      </p:pic>
      <p:pic>
        <p:nvPicPr>
          <p:cNvPr id="10" name="Imagen 9" descr="Logotipo&#10;&#10;Descripción generada automáticamente">
            <a:extLst>
              <a:ext uri="{FF2B5EF4-FFF2-40B4-BE49-F238E27FC236}">
                <a16:creationId xmlns:a16="http://schemas.microsoft.com/office/drawing/2014/main" id="{1066F4B3-A691-A679-5794-D2280E95955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4033" y="34092"/>
            <a:ext cx="2542516" cy="1237693"/>
          </a:xfrm>
          <a:prstGeom prst="rect">
            <a:avLst/>
          </a:prstGeom>
        </p:spPr>
      </p:pic>
      <p:pic>
        <p:nvPicPr>
          <p:cNvPr id="3" name="Imagen 2" descr="Texto&#10;&#10;Descripción generada automáticamente">
            <a:extLst>
              <a:ext uri="{FF2B5EF4-FFF2-40B4-BE49-F238E27FC236}">
                <a16:creationId xmlns:a16="http://schemas.microsoft.com/office/drawing/2014/main" id="{E86ABCDC-E03E-AA18-CDA8-1F29F2B6AE0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316" y="6268225"/>
            <a:ext cx="1538170" cy="373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image" Target="../media/image21.emf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E36BEA79-1EAC-8F14-1055-81B676D02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33D7760-72DB-0DD6-D5C9-B730D02388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A9CE9C9-42F9-9D01-C6CA-739B288DC0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53DDD9-DA49-EB46-AFE7-2E736A1FD886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8472AA7-B846-48DC-67DC-7473A3EF3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B480169-ADB2-F3A3-5F48-561260C119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D0AF27-2EDE-6846-BB61-B3989FA6B24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43830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707" r:id="rId11"/>
    <p:sldLayoutId id="214748370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51C3F5D-5EA7-4E24-AF15-07A09EA09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677987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59" imgH="355" progId="TCLayout.ActiveDocument.1">
                  <p:embed/>
                </p:oleObj>
              </mc:Choice>
              <mc:Fallback>
                <p:oleObj name="think-cell Slide" r:id="rId37" imgW="359" imgH="35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51C3F5D-5EA7-4E24-AF15-07A09EA09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EBAA9A-A68B-3F43-9C0D-119CAF54943C}" type="datetime3">
              <a:rPr lang="en-US" noProof="0" smtClean="0"/>
              <a:t>11 October 2024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</p:spTree>
    <p:extLst>
      <p:ext uri="{BB962C8B-B14F-4D97-AF65-F5344CB8AC3E}">
        <p14:creationId xmlns:p14="http://schemas.microsoft.com/office/powerpoint/2010/main" val="2679980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  <p:sldLayoutId id="2147483693" r:id="rId22"/>
    <p:sldLayoutId id="2147483694" r:id="rId23"/>
    <p:sldLayoutId id="2147483695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svg"/><Relationship Id="rId18" Type="http://schemas.openxmlformats.org/officeDocument/2006/relationships/image" Target="../media/image61.png"/><Relationship Id="rId3" Type="http://schemas.openxmlformats.org/officeDocument/2006/relationships/image" Target="../media/image46.svg"/><Relationship Id="rId7" Type="http://schemas.openxmlformats.org/officeDocument/2006/relationships/image" Target="../media/image50.svg"/><Relationship Id="rId12" Type="http://schemas.openxmlformats.org/officeDocument/2006/relationships/image" Target="../media/image55.png"/><Relationship Id="rId17" Type="http://schemas.openxmlformats.org/officeDocument/2006/relationships/image" Target="../media/image60.svg"/><Relationship Id="rId2" Type="http://schemas.openxmlformats.org/officeDocument/2006/relationships/image" Target="../media/image45.png"/><Relationship Id="rId16" Type="http://schemas.openxmlformats.org/officeDocument/2006/relationships/image" Target="../media/image59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49.png"/><Relationship Id="rId11" Type="http://schemas.openxmlformats.org/officeDocument/2006/relationships/image" Target="../media/image54.svg"/><Relationship Id="rId5" Type="http://schemas.openxmlformats.org/officeDocument/2006/relationships/image" Target="../media/image48.svg"/><Relationship Id="rId15" Type="http://schemas.openxmlformats.org/officeDocument/2006/relationships/image" Target="../media/image58.svg"/><Relationship Id="rId10" Type="http://schemas.openxmlformats.org/officeDocument/2006/relationships/image" Target="../media/image53.png"/><Relationship Id="rId19" Type="http://schemas.openxmlformats.org/officeDocument/2006/relationships/image" Target="../media/image62.svg"/><Relationship Id="rId4" Type="http://schemas.openxmlformats.org/officeDocument/2006/relationships/image" Target="../media/image47.png"/><Relationship Id="rId9" Type="http://schemas.openxmlformats.org/officeDocument/2006/relationships/image" Target="../media/image52.svg"/><Relationship Id="rId14" Type="http://schemas.openxmlformats.org/officeDocument/2006/relationships/image" Target="../media/image5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6.xml"/><Relationship Id="rId4" Type="http://schemas.openxmlformats.org/officeDocument/2006/relationships/chart" Target="../charts/char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63.png"/><Relationship Id="rId7" Type="http://schemas.openxmlformats.org/officeDocument/2006/relationships/image" Target="../media/image4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.png"/><Relationship Id="rId5" Type="http://schemas.openxmlformats.org/officeDocument/2006/relationships/image" Target="../media/image64.png"/><Relationship Id="rId4" Type="http://schemas.microsoft.com/office/2007/relationships/hdphoto" Target="../media/hdphoto1.wdp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6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" Target="slide37.xml"/><Relationship Id="rId3" Type="http://schemas.openxmlformats.org/officeDocument/2006/relationships/image" Target="../media/image17.png"/><Relationship Id="rId7" Type="http://schemas.openxmlformats.org/officeDocument/2006/relationships/slide" Target="slide3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slide" Target="slide34.xml"/><Relationship Id="rId5" Type="http://schemas.openxmlformats.org/officeDocument/2006/relationships/slide" Target="slide18.xml"/><Relationship Id="rId4" Type="http://schemas.openxmlformats.org/officeDocument/2006/relationships/slide" Target="slide29.xml"/><Relationship Id="rId9" Type="http://schemas.openxmlformats.org/officeDocument/2006/relationships/slide" Target="slide4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" Target="slide50.xml"/><Relationship Id="rId3" Type="http://schemas.openxmlformats.org/officeDocument/2006/relationships/image" Target="../media/image17.png"/><Relationship Id="rId7" Type="http://schemas.openxmlformats.org/officeDocument/2006/relationships/slide" Target="slide48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slide" Target="slide45.xml"/><Relationship Id="rId5" Type="http://schemas.openxmlformats.org/officeDocument/2006/relationships/slide" Target="slide44.xml"/><Relationship Id="rId4" Type="http://schemas.openxmlformats.org/officeDocument/2006/relationships/slide" Target="slide4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9.jpeg"/><Relationship Id="rId4" Type="http://schemas.openxmlformats.org/officeDocument/2006/relationships/image" Target="../media/image68.jpe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https://cima.aemps.es/cima/pdfs/ft/84849/FT_84849.pdf" TargetMode="External"/><Relationship Id="rId3" Type="http://schemas.openxmlformats.org/officeDocument/2006/relationships/image" Target="../media/image73.png"/><Relationship Id="rId7" Type="http://schemas.openxmlformats.org/officeDocument/2006/relationships/hyperlink" Target="https://cima.aemps.es/cima/pdfs/ft/12783002/FT_12783002.pdf%20/" TargetMode="External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cima.aemps.es/cima/pdfs/ft/98080001/FT_98080001.pdf%20/" TargetMode="External"/><Relationship Id="rId5" Type="http://schemas.openxmlformats.org/officeDocument/2006/relationships/hyperlink" Target="https://cima.aemps.es/cima/pdfs/ft/78406/FT_78406.pdf" TargetMode="External"/><Relationship Id="rId10" Type="http://schemas.openxmlformats.org/officeDocument/2006/relationships/hyperlink" Target="https://cima.aemps.es/cima/dochtml/ft/73714/FT_73714.pdf" TargetMode="External"/><Relationship Id="rId4" Type="http://schemas.openxmlformats.org/officeDocument/2006/relationships/hyperlink" Target="https://cima.aemps.es/cima/pdfs/es/ft/1211558001/FT_1211558001.pdf" TargetMode="External"/><Relationship Id="rId9" Type="http://schemas.openxmlformats.org/officeDocument/2006/relationships/hyperlink" Target="https://cima.aemps.es/cima/pdfs/ft/77675/FT_77675.pdf%20/" TargetMode="Externa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8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7" Type="http://schemas.openxmlformats.org/officeDocument/2006/relationships/chart" Target="../charts/chart17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cima.aemps.es/cima/pdfs/es/ft/1211558001/FT_1211558001.pdf" TargetMode="External"/><Relationship Id="rId1" Type="http://schemas.openxmlformats.org/officeDocument/2006/relationships/slideLayout" Target="../slideLayouts/slideLayout4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hyperlink" Target="https://cima.aemps.es/cima/pdfs/es/p/64968/P_64968.html.pdf" TargetMode="External"/><Relationship Id="rId3" Type="http://schemas.openxmlformats.org/officeDocument/2006/relationships/image" Target="../media/image35.svg"/><Relationship Id="rId7" Type="http://schemas.openxmlformats.org/officeDocument/2006/relationships/image" Target="../media/image39.svg"/><Relationship Id="rId12" Type="http://schemas.openxmlformats.org/officeDocument/2006/relationships/hyperlink" Target="https://cima.aemps.es/cima/pdfs/ft/78406/FT_78406.pdf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8.png"/><Relationship Id="rId11" Type="http://schemas.openxmlformats.org/officeDocument/2006/relationships/hyperlink" Target="https://cima.aemps.es/cima/dochtml/ft/73714/FT_73714.pdf" TargetMode="External"/><Relationship Id="rId5" Type="http://schemas.openxmlformats.org/officeDocument/2006/relationships/image" Target="../media/image37.svg"/><Relationship Id="rId10" Type="http://schemas.openxmlformats.org/officeDocument/2006/relationships/hyperlink" Target="https://cima.aemps.es/cima/pdfs/es/ft/1211558001/FT_1211558001.pdf" TargetMode="External"/><Relationship Id="rId4" Type="http://schemas.openxmlformats.org/officeDocument/2006/relationships/image" Target="../media/image36.png"/><Relationship Id="rId9" Type="http://schemas.openxmlformats.org/officeDocument/2006/relationships/image" Target="../media/image41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57715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C5B98CB8-AE73-8A46-9D2F-BBBF76BB9A94}"/>
              </a:ext>
            </a:extLst>
          </p:cNvPr>
          <p:cNvSpPr txBox="1"/>
          <p:nvPr/>
        </p:nvSpPr>
        <p:spPr>
          <a:xfrm>
            <a:off x="387039" y="1395690"/>
            <a:ext cx="1730676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udio PROAK</a:t>
            </a:r>
            <a:r>
              <a:rPr kumimoji="0" lang="es-ES_tradnl" sz="1600" b="0" i="0" u="none" strike="noStrike" kern="120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Marcador de texto 1">
            <a:extLst>
              <a:ext uri="{FF2B5EF4-FFF2-40B4-BE49-F238E27FC236}">
                <a16:creationId xmlns:a16="http://schemas.microsoft.com/office/drawing/2014/main" id="{03DD3881-0648-74AE-B9E0-6DF4ABB4DB44}"/>
              </a:ext>
            </a:extLst>
          </p:cNvPr>
          <p:cNvSpPr txBox="1">
            <a:spLocks/>
          </p:cNvSpPr>
          <p:nvPr/>
        </p:nvSpPr>
        <p:spPr>
          <a:xfrm>
            <a:off x="194249" y="231695"/>
            <a:ext cx="8133322" cy="51826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_tradnl" sz="2400">
                <a:latin typeface="Arial"/>
              </a:rPr>
              <a:t>Eficacia mantenida del </a:t>
            </a:r>
            <a:r>
              <a:rPr lang="es-ES" sz="2400">
                <a:latin typeface="Arial"/>
              </a:rPr>
              <a:t>tratamiento con </a:t>
            </a:r>
            <a:r>
              <a:rPr lang="es-ES" sz="2400" err="1">
                <a:latin typeface="Arial"/>
              </a:rPr>
              <a:t>tirbanibulina</a:t>
            </a:r>
            <a:endParaRPr lang="en-US" sz="2400">
              <a:latin typeface="Arial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76069D7-46FD-A1C2-8E0B-223324B71E33}"/>
              </a:ext>
            </a:extLst>
          </p:cNvPr>
          <p:cNvSpPr txBox="1"/>
          <p:nvPr/>
        </p:nvSpPr>
        <p:spPr>
          <a:xfrm>
            <a:off x="3289010" y="938173"/>
            <a:ext cx="2404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ana 8 y Semana 24</a:t>
            </a: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oup 60">
            <a:extLst>
              <a:ext uri="{FF2B5EF4-FFF2-40B4-BE49-F238E27FC236}">
                <a16:creationId xmlns:a16="http://schemas.microsoft.com/office/drawing/2014/main" id="{73239698-3302-6240-E61B-72E84A762ABA}"/>
              </a:ext>
            </a:extLst>
          </p:cNvPr>
          <p:cNvGrpSpPr/>
          <p:nvPr/>
        </p:nvGrpSpPr>
        <p:grpSpPr>
          <a:xfrm>
            <a:off x="1094317" y="1660938"/>
            <a:ext cx="6830483" cy="3734004"/>
            <a:chOff x="3944669" y="1129992"/>
            <a:chExt cx="4416592" cy="3472667"/>
          </a:xfrm>
        </p:grpSpPr>
        <p:grpSp>
          <p:nvGrpSpPr>
            <p:cNvPr id="8" name="Grupo 10">
              <a:extLst>
                <a:ext uri="{FF2B5EF4-FFF2-40B4-BE49-F238E27FC236}">
                  <a16:creationId xmlns:a16="http://schemas.microsoft.com/office/drawing/2014/main" id="{D20D261C-D96B-A841-4E9C-4731070EC465}"/>
                </a:ext>
              </a:extLst>
            </p:cNvPr>
            <p:cNvGrpSpPr/>
            <p:nvPr/>
          </p:nvGrpSpPr>
          <p:grpSpPr>
            <a:xfrm>
              <a:off x="3944669" y="1129992"/>
              <a:ext cx="4416592" cy="3309675"/>
              <a:chOff x="15508181" y="15374609"/>
              <a:chExt cx="5005471" cy="3309675"/>
            </a:xfrm>
          </p:grpSpPr>
          <p:grpSp>
            <p:nvGrpSpPr>
              <p:cNvPr id="12" name="Group 4">
                <a:extLst>
                  <a:ext uri="{FF2B5EF4-FFF2-40B4-BE49-F238E27FC236}">
                    <a16:creationId xmlns:a16="http://schemas.microsoft.com/office/drawing/2014/main" id="{6DE81E8D-CEB1-CD33-44C6-3D19BCBD135C}"/>
                  </a:ext>
                </a:extLst>
              </p:cNvPr>
              <p:cNvGrpSpPr/>
              <p:nvPr/>
            </p:nvGrpSpPr>
            <p:grpSpPr>
              <a:xfrm>
                <a:off x="15508181" y="15374609"/>
                <a:ext cx="5005471" cy="3309675"/>
                <a:chOff x="1880916" y="2835944"/>
                <a:chExt cx="7890132" cy="5401564"/>
              </a:xfrm>
            </p:grpSpPr>
            <p:graphicFrame>
              <p:nvGraphicFramePr>
                <p:cNvPr id="14" name="Chart 70">
                  <a:extLst>
                    <a:ext uri="{FF2B5EF4-FFF2-40B4-BE49-F238E27FC236}">
                      <a16:creationId xmlns:a16="http://schemas.microsoft.com/office/drawing/2014/main" id="{F04CF622-0275-1FE5-C171-329D2D90FF7C}"/>
                    </a:ext>
                  </a:extLst>
                </p:cNvPr>
                <p:cNvGraphicFramePr/>
                <p:nvPr/>
              </p:nvGraphicFramePr>
              <p:xfrm>
                <a:off x="1880916" y="2835944"/>
                <a:ext cx="7890132" cy="5401564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"/>
                </a:graphicData>
              </a:graphic>
            </p:graphicFrame>
            <p:sp>
              <p:nvSpPr>
                <p:cNvPr id="15" name="Rectangle 71">
                  <a:extLst>
                    <a:ext uri="{FF2B5EF4-FFF2-40B4-BE49-F238E27FC236}">
                      <a16:creationId xmlns:a16="http://schemas.microsoft.com/office/drawing/2014/main" id="{BEBF9FED-CB87-FFF0-464C-E274F86B50B2}"/>
                    </a:ext>
                  </a:extLst>
                </p:cNvPr>
                <p:cNvSpPr/>
                <p:nvPr/>
              </p:nvSpPr>
              <p:spPr>
                <a:xfrm>
                  <a:off x="3257368" y="3760130"/>
                  <a:ext cx="1768295" cy="3749285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rgbClr val="FF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09811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67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" name="TextBox 1">
                <a:extLst>
                  <a:ext uri="{FF2B5EF4-FFF2-40B4-BE49-F238E27FC236}">
                    <a16:creationId xmlns:a16="http://schemas.microsoft.com/office/drawing/2014/main" id="{C97288BE-A27F-127B-28F7-0C821518FC62}"/>
                  </a:ext>
                </a:extLst>
              </p:cNvPr>
              <p:cNvSpPr txBox="1"/>
              <p:nvPr/>
            </p:nvSpPr>
            <p:spPr>
              <a:xfrm>
                <a:off x="16153263" y="15623662"/>
                <a:ext cx="1578068" cy="2766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09811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333" b="1" i="0" u="none" strike="noStrike" kern="0" cap="none" spc="0" normalizeH="0" baseline="0" noProof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Éxito terapéutico</a:t>
                </a:r>
              </a:p>
            </p:txBody>
          </p:sp>
        </p:grpSp>
        <p:sp>
          <p:nvSpPr>
            <p:cNvPr id="9" name="TextBox 1">
              <a:extLst>
                <a:ext uri="{FF2B5EF4-FFF2-40B4-BE49-F238E27FC236}">
                  <a16:creationId xmlns:a16="http://schemas.microsoft.com/office/drawing/2014/main" id="{C2FA148A-1AA3-88A8-B5F9-673DD2071458}"/>
                </a:ext>
              </a:extLst>
            </p:cNvPr>
            <p:cNvSpPr txBox="1"/>
            <p:nvPr/>
          </p:nvSpPr>
          <p:spPr>
            <a:xfrm>
              <a:off x="4852403" y="4363440"/>
              <a:ext cx="677424" cy="238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0981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GA 0/1</a:t>
              </a:r>
            </a:p>
          </p:txBody>
        </p:sp>
        <p:sp>
          <p:nvSpPr>
            <p:cNvPr id="10" name="TextBox 1">
              <a:extLst>
                <a:ext uri="{FF2B5EF4-FFF2-40B4-BE49-F238E27FC236}">
                  <a16:creationId xmlns:a16="http://schemas.microsoft.com/office/drawing/2014/main" id="{2632D639-E39B-9E1A-AFA4-9D3695EFBD38}"/>
                </a:ext>
              </a:extLst>
            </p:cNvPr>
            <p:cNvSpPr txBox="1"/>
            <p:nvPr/>
          </p:nvSpPr>
          <p:spPr>
            <a:xfrm>
              <a:off x="6054857" y="4364069"/>
              <a:ext cx="863646" cy="238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0981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GA 2</a:t>
              </a:r>
            </a:p>
          </p:txBody>
        </p:sp>
        <p:sp>
          <p:nvSpPr>
            <p:cNvPr id="11" name="TextBox 1">
              <a:extLst>
                <a:ext uri="{FF2B5EF4-FFF2-40B4-BE49-F238E27FC236}">
                  <a16:creationId xmlns:a16="http://schemas.microsoft.com/office/drawing/2014/main" id="{3FAAEC9D-B7A9-DF82-CA4B-E371E9333C6E}"/>
                </a:ext>
              </a:extLst>
            </p:cNvPr>
            <p:cNvSpPr txBox="1"/>
            <p:nvPr/>
          </p:nvSpPr>
          <p:spPr>
            <a:xfrm>
              <a:off x="7210137" y="4345178"/>
              <a:ext cx="863646" cy="238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0981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GA 3/4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F08F0042-7049-7022-89CD-B1DA3D43C712}"/>
              </a:ext>
            </a:extLst>
          </p:cNvPr>
          <p:cNvGrpSpPr/>
          <p:nvPr/>
        </p:nvGrpSpPr>
        <p:grpSpPr>
          <a:xfrm>
            <a:off x="8076864" y="2146712"/>
            <a:ext cx="3803948" cy="2002197"/>
            <a:chOff x="1120065" y="1728393"/>
            <a:chExt cx="4799211" cy="2229994"/>
          </a:xfrm>
        </p:grpSpPr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481B9EC6-F10B-4D1E-63AA-8CC70EEA4A6C}"/>
                </a:ext>
              </a:extLst>
            </p:cNvPr>
            <p:cNvSpPr/>
            <p:nvPr/>
          </p:nvSpPr>
          <p:spPr>
            <a:xfrm>
              <a:off x="1120065" y="1728393"/>
              <a:ext cx="4799211" cy="222999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239467A7-BE53-2972-B5FD-0BFE6B4CACB3}"/>
                </a:ext>
              </a:extLst>
            </p:cNvPr>
            <p:cNvSpPr txBox="1"/>
            <p:nvPr/>
          </p:nvSpPr>
          <p:spPr>
            <a:xfrm>
              <a:off x="1247597" y="1774705"/>
              <a:ext cx="4530677" cy="212531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fectividad </a:t>
              </a:r>
              <a:r>
                <a: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n </a:t>
              </a:r>
              <a:r>
                <a:rPr kumimoji="0" lang="es-ES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áctica clínica:</a:t>
              </a:r>
            </a:p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85750" marR="0" lvl="0" indent="-28575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s-ES" sz="2000" b="0" i="0" u="none" strike="noStrike" kern="1200" cap="none" spc="0" normalizeH="0" baseline="0" noProof="0">
                  <a:ln>
                    <a:noFill/>
                  </a:ln>
                  <a:solidFill>
                    <a:srgbClr val="00F0BE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n </a:t>
              </a:r>
              <a:r>
                <a:rPr kumimoji="0" lang="es-ES" sz="2000" b="1" i="0" u="none" strike="noStrike" kern="1200" cap="none" spc="0" normalizeH="0" baseline="0" noProof="0">
                  <a:ln>
                    <a:noFill/>
                  </a:ln>
                  <a:solidFill>
                    <a:srgbClr val="00F0BE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ínea</a:t>
              </a:r>
              <a:r>
                <a:rPr kumimoji="0" lang="es-ES" sz="2000" b="0" i="0" u="none" strike="noStrike" kern="1200" cap="none" spc="0" normalizeH="0" baseline="0" noProof="0">
                  <a:ln>
                    <a:noFill/>
                  </a:ln>
                  <a:solidFill>
                    <a:srgbClr val="00F0BE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s-E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 resultados de los ensayos clínicos fase III</a:t>
              </a:r>
              <a:r>
                <a:rPr kumimoji="0" lang="es-E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*</a:t>
              </a:r>
              <a:r>
                <a:rPr kumimoji="0" lang="es-E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s-ES" sz="1600" b="0" i="0" u="none" strike="noStrike" kern="1200" cap="none" spc="0" normalizeH="0" baseline="3000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,2</a:t>
              </a: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85750" marR="0" lvl="0" indent="-28575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85750" marR="0" lvl="0" indent="-28575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s-ES" sz="2000" b="1" i="0" u="none" strike="noStrike" kern="1200" cap="none" spc="0" normalizeH="0" baseline="0" noProof="0">
                  <a:ln>
                    <a:noFill/>
                  </a:ln>
                  <a:solidFill>
                    <a:srgbClr val="00F0BE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 mantiene en el tiempo</a:t>
              </a: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9" name="Rectángulo 18">
            <a:extLst>
              <a:ext uri="{FF2B5EF4-FFF2-40B4-BE49-F238E27FC236}">
                <a16:creationId xmlns:a16="http://schemas.microsoft.com/office/drawing/2014/main" id="{74990866-6242-D37F-4C21-5C1C220E03CD}"/>
              </a:ext>
            </a:extLst>
          </p:cNvPr>
          <p:cNvSpPr/>
          <p:nvPr/>
        </p:nvSpPr>
        <p:spPr>
          <a:xfrm>
            <a:off x="284480" y="1201200"/>
            <a:ext cx="7921513" cy="4385613"/>
          </a:xfrm>
          <a:prstGeom prst="rect">
            <a:avLst/>
          </a:prstGeom>
          <a:noFill/>
          <a:ln w="9525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352F11DC-98C8-818E-5F25-71A34B13D84E}"/>
              </a:ext>
            </a:extLst>
          </p:cNvPr>
          <p:cNvSpPr txBox="1"/>
          <p:nvPr/>
        </p:nvSpPr>
        <p:spPr>
          <a:xfrm>
            <a:off x="1814906" y="6157375"/>
            <a:ext cx="8179141" cy="6232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Q, 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pert Panel Questionnaire; IGA, </a:t>
            </a:r>
            <a:r>
              <a:rPr kumimoji="0" lang="fr-FR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vestigator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Global </a:t>
            </a:r>
            <a:r>
              <a:rPr kumimoji="0" lang="fr-FR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sessment</a:t>
            </a:r>
            <a:endParaRPr kumimoji="0" lang="fr-FR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</a:t>
            </a: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lesinger T, et al. (2023). Patient- and Clinician-Reported Outcomes of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rbanibulin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% in the Treatment of Actinic Keratosis on the Face and Scalp (PROAK Study). SKIN The Journal of Cutaneous Medicine, 7(6), s262.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lauvelt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, et al.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hase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rbanibuli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nic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ratosis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oup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hase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ials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rbanibuli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intment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nic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ratosis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N Engl J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021 Feb 11;384(6):512-520. 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E644BBE3-D9D7-85F0-6375-428E571E353A}"/>
              </a:ext>
            </a:extLst>
          </p:cNvPr>
          <p:cNvSpPr txBox="1"/>
          <p:nvPr/>
        </p:nvSpPr>
        <p:spPr>
          <a:xfrm>
            <a:off x="503303" y="5776028"/>
            <a:ext cx="7824268" cy="369332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22A5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022A5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laramiento parcial (≥75% de las lesiones) a la semana 8: 74% de los pacientes </a:t>
            </a:r>
            <a:r>
              <a:rPr kumimoji="0" lang="es-ES" sz="1000" b="0" i="0" u="none" strike="noStrike" kern="1200" cap="none" spc="0" normalizeH="0" baseline="0" noProof="0" err="1">
                <a:ln>
                  <a:noFill/>
                </a:ln>
                <a:solidFill>
                  <a:srgbClr val="022A5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en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022A5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ROAK </a:t>
            </a:r>
            <a:r>
              <a:rPr kumimoji="0" lang="es-ES" sz="1000" b="0" i="1" u="none" strike="noStrike" kern="1200" cap="none" spc="0" normalizeH="0" baseline="0" noProof="0">
                <a:ln>
                  <a:noFill/>
                </a:ln>
                <a:solidFill>
                  <a:srgbClr val="022A5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s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022A5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72% de los pacientes en  Fase III)</a:t>
            </a:r>
            <a:endParaRPr kumimoji="0" lang="es-ES" sz="1000" b="0" i="0" u="none" strike="noStrike" kern="1200" cap="none" spc="0" normalizeH="0" baseline="0" noProof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C0A5CD26-DB49-0747-2F85-A539BE053450}"/>
              </a:ext>
            </a:extLst>
          </p:cNvPr>
          <p:cNvSpPr txBox="1"/>
          <p:nvPr/>
        </p:nvSpPr>
        <p:spPr>
          <a:xfrm>
            <a:off x="8563042" y="5673184"/>
            <a:ext cx="31365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laramiento completo/parcial = 75-100% aclaramiento</a:t>
            </a:r>
          </a:p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laramiento moderado= 50-74% aclaramiento</a:t>
            </a:r>
          </a:p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laramiento mínimo o no aclaramiento = 0-49% aclaramiento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107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1">
            <a:extLst>
              <a:ext uri="{FF2B5EF4-FFF2-40B4-BE49-F238E27FC236}">
                <a16:creationId xmlns:a16="http://schemas.microsoft.com/office/drawing/2014/main" id="{E71A7D7A-8B24-F49F-7833-C8B3896041FB}"/>
              </a:ext>
            </a:extLst>
          </p:cNvPr>
          <p:cNvSpPr txBox="1">
            <a:spLocks/>
          </p:cNvSpPr>
          <p:nvPr/>
        </p:nvSpPr>
        <p:spPr>
          <a:xfrm>
            <a:off x="455850" y="187944"/>
            <a:ext cx="10020767" cy="642632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2400" b="1" i="0" u="none" strike="noStrike" kern="1200" cap="none" spc="0" normalizeH="0" baseline="0" noProof="0">
                <a:ln>
                  <a:noFill/>
                </a:ln>
                <a:solidFill>
                  <a:srgbClr val="E63D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lerabilidad</a:t>
            </a:r>
            <a:endParaRPr kumimoji="0" lang="es-ES" sz="2200" b="1" i="0" u="none" strike="noStrike" kern="1200" cap="none" spc="0" normalizeH="0" baseline="0" noProof="0">
              <a:ln>
                <a:noFill/>
              </a:ln>
              <a:solidFill>
                <a:srgbClr val="E63D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6145BEA7-E1DB-1955-E42E-29F345C9853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2" t="1402" r="80681" b="2256"/>
          <a:stretch/>
        </p:blipFill>
        <p:spPr>
          <a:xfrm>
            <a:off x="1508642" y="4978125"/>
            <a:ext cx="1305908" cy="1059747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6" name="TextBox 32">
            <a:extLst>
              <a:ext uri="{FF2B5EF4-FFF2-40B4-BE49-F238E27FC236}">
                <a16:creationId xmlns:a16="http://schemas.microsoft.com/office/drawing/2014/main" id="{9ADE8C1E-C4E1-F47E-CD22-31205983F709}"/>
              </a:ext>
            </a:extLst>
          </p:cNvPr>
          <p:cNvSpPr txBox="1"/>
          <p:nvPr/>
        </p:nvSpPr>
        <p:spPr>
          <a:xfrm>
            <a:off x="1913369" y="6160388"/>
            <a:ext cx="81655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1">
                <a:ln>
                  <a:noFill/>
                </a:ln>
                <a:solidFill>
                  <a:srgbClr val="2DD0A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es-E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ilaberte Y. et al.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vorable safety profile of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rbanibulin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intment 1% for actinic keratosis: pooled results from two phase 3 studies. </a:t>
            </a:r>
            <a:r>
              <a:rPr kumimoji="0" lang="es-E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ster presentado en EADO, Sevilla 21-23 Abril, 2022. </a:t>
            </a:r>
            <a:r>
              <a:rPr kumimoji="0" lang="es-ES" sz="800" b="1" i="0" u="none" strike="noStrike" kern="1200" cap="none" spc="0" normalizeH="0" baseline="0" noProof="1">
                <a:ln>
                  <a:noFill/>
                </a:ln>
                <a:solidFill>
                  <a:srgbClr val="2DD0A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es-ES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mpione E. et al. Preliminary Evidence of Efficacy, Safety, and Treatment Satisfaction with Tirbanibulin 1% Ointment: A Clinical Perspective on Actinic Keratoses. Pharmaceuticals (Basel). 2023 Dec 4;16(12):1686 </a:t>
            </a:r>
            <a:r>
              <a:rPr kumimoji="0" lang="es-ES" sz="800" b="1" i="0" u="none" strike="noStrike" kern="1200" cap="none" spc="0" normalizeH="0" baseline="0" noProof="1">
                <a:ln>
                  <a:noFill/>
                </a:ln>
                <a:solidFill>
                  <a:srgbClr val="2DD0A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</a:t>
            </a:r>
            <a:r>
              <a:rPr kumimoji="0" lang="es-ES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lauvelt A, et al. Phase 3 Tirbanibulin for Actinic Keratosis Group. Phase 3 Trials of Tirbanibulin Ointment for Actinic Keratosis. N Engl J Med. 2021 Feb 11;384(6):512-520.</a:t>
            </a: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52AAA2C1-D76D-97B0-DAB9-A4F510278AE8}"/>
              </a:ext>
            </a:extLst>
          </p:cNvPr>
          <p:cNvGrpSpPr/>
          <p:nvPr/>
        </p:nvGrpSpPr>
        <p:grpSpPr>
          <a:xfrm>
            <a:off x="679440" y="1084523"/>
            <a:ext cx="8565276" cy="3872285"/>
            <a:chOff x="433833" y="1653199"/>
            <a:chExt cx="6120647" cy="2748789"/>
          </a:xfrm>
        </p:grpSpPr>
        <p:grpSp>
          <p:nvGrpSpPr>
            <p:cNvPr id="8" name="Grupo 7">
              <a:extLst>
                <a:ext uri="{FF2B5EF4-FFF2-40B4-BE49-F238E27FC236}">
                  <a16:creationId xmlns:a16="http://schemas.microsoft.com/office/drawing/2014/main" id="{15A130CE-E93F-557B-F5B8-D691181DD030}"/>
                </a:ext>
              </a:extLst>
            </p:cNvPr>
            <p:cNvGrpSpPr/>
            <p:nvPr/>
          </p:nvGrpSpPr>
          <p:grpSpPr>
            <a:xfrm>
              <a:off x="433833" y="1653199"/>
              <a:ext cx="6120647" cy="2653046"/>
              <a:chOff x="558290" y="1441163"/>
              <a:chExt cx="6188292" cy="2923368"/>
            </a:xfrm>
          </p:grpSpPr>
          <p:grpSp>
            <p:nvGrpSpPr>
              <p:cNvPr id="10" name="Grupo 9">
                <a:extLst>
                  <a:ext uri="{FF2B5EF4-FFF2-40B4-BE49-F238E27FC236}">
                    <a16:creationId xmlns:a16="http://schemas.microsoft.com/office/drawing/2014/main" id="{2033FDF5-04CF-05FA-2B92-CA51B5227C68}"/>
                  </a:ext>
                </a:extLst>
              </p:cNvPr>
              <p:cNvGrpSpPr/>
              <p:nvPr/>
            </p:nvGrpSpPr>
            <p:grpSpPr>
              <a:xfrm>
                <a:off x="558290" y="1521122"/>
                <a:ext cx="6188292" cy="2843409"/>
                <a:chOff x="185447" y="2086946"/>
                <a:chExt cx="8260202" cy="2228355"/>
              </a:xfrm>
            </p:grpSpPr>
            <p:cxnSp>
              <p:nvCxnSpPr>
                <p:cNvPr id="12" name="Conector recto 11">
                  <a:extLst>
                    <a:ext uri="{FF2B5EF4-FFF2-40B4-BE49-F238E27FC236}">
                      <a16:creationId xmlns:a16="http://schemas.microsoft.com/office/drawing/2014/main" id="{7FED0B85-9147-6FCD-9D11-59E45D877327}"/>
                    </a:ext>
                  </a:extLst>
                </p:cNvPr>
                <p:cNvCxnSpPr/>
                <p:nvPr/>
              </p:nvCxnSpPr>
              <p:spPr>
                <a:xfrm>
                  <a:off x="803663" y="2086946"/>
                  <a:ext cx="0" cy="188556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Conector recto 12">
                  <a:extLst>
                    <a:ext uri="{FF2B5EF4-FFF2-40B4-BE49-F238E27FC236}">
                      <a16:creationId xmlns:a16="http://schemas.microsoft.com/office/drawing/2014/main" id="{06F73302-E29D-EF3D-4F79-2EA8121563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03663" y="3972514"/>
                  <a:ext cx="7641986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" name="Rectángulo redondeado 6">
                  <a:extLst>
                    <a:ext uri="{FF2B5EF4-FFF2-40B4-BE49-F238E27FC236}">
                      <a16:creationId xmlns:a16="http://schemas.microsoft.com/office/drawing/2014/main" id="{1977C212-F89D-761F-4509-92173A025D2C}"/>
                    </a:ext>
                  </a:extLst>
                </p:cNvPr>
                <p:cNvSpPr/>
                <p:nvPr/>
              </p:nvSpPr>
              <p:spPr>
                <a:xfrm>
                  <a:off x="1072748" y="4015105"/>
                  <a:ext cx="1366723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33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ía 1 (basal) 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" name="Rectángulo redondeado 6">
                  <a:extLst>
                    <a:ext uri="{FF2B5EF4-FFF2-40B4-BE49-F238E27FC236}">
                      <a16:creationId xmlns:a16="http://schemas.microsoft.com/office/drawing/2014/main" id="{17E0A14D-7332-E0A6-9585-BC373862D55A}"/>
                    </a:ext>
                  </a:extLst>
                </p:cNvPr>
                <p:cNvSpPr/>
                <p:nvPr/>
              </p:nvSpPr>
              <p:spPr>
                <a:xfrm>
                  <a:off x="4738413" y="4003541"/>
                  <a:ext cx="1366723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33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ía 15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" name="Rectángulo redondeado 6">
                  <a:extLst>
                    <a:ext uri="{FF2B5EF4-FFF2-40B4-BE49-F238E27FC236}">
                      <a16:creationId xmlns:a16="http://schemas.microsoft.com/office/drawing/2014/main" id="{78B49169-704D-8995-82B1-5911EA850FBE}"/>
                    </a:ext>
                  </a:extLst>
                </p:cNvPr>
                <p:cNvSpPr/>
                <p:nvPr/>
              </p:nvSpPr>
              <p:spPr>
                <a:xfrm>
                  <a:off x="6261617" y="4019110"/>
                  <a:ext cx="722536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33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ía 29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" name="Rectángulo redondeado 6">
                  <a:extLst>
                    <a:ext uri="{FF2B5EF4-FFF2-40B4-BE49-F238E27FC236}">
                      <a16:creationId xmlns:a16="http://schemas.microsoft.com/office/drawing/2014/main" id="{4E895592-30E4-C930-2D80-2986198C13DC}"/>
                    </a:ext>
                  </a:extLst>
                </p:cNvPr>
                <p:cNvSpPr/>
                <p:nvPr/>
              </p:nvSpPr>
              <p:spPr>
                <a:xfrm>
                  <a:off x="3524090" y="4003738"/>
                  <a:ext cx="1366723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33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ía 8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" name="Rectángulo redondeado 6">
                  <a:extLst>
                    <a:ext uri="{FF2B5EF4-FFF2-40B4-BE49-F238E27FC236}">
                      <a16:creationId xmlns:a16="http://schemas.microsoft.com/office/drawing/2014/main" id="{E3EC73C6-1729-79CB-A60D-FC9183B1D501}"/>
                    </a:ext>
                  </a:extLst>
                </p:cNvPr>
                <p:cNvSpPr/>
                <p:nvPr/>
              </p:nvSpPr>
              <p:spPr>
                <a:xfrm>
                  <a:off x="2286862" y="4001164"/>
                  <a:ext cx="1366723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33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ía 5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" name="Rectángulo redondeado 6">
                  <a:extLst>
                    <a:ext uri="{FF2B5EF4-FFF2-40B4-BE49-F238E27FC236}">
                      <a16:creationId xmlns:a16="http://schemas.microsoft.com/office/drawing/2014/main" id="{C3E303E0-BDB0-DE91-9E6B-1BDB3A3C6176}"/>
                    </a:ext>
                  </a:extLst>
                </p:cNvPr>
                <p:cNvSpPr/>
                <p:nvPr/>
              </p:nvSpPr>
              <p:spPr>
                <a:xfrm>
                  <a:off x="7512101" y="4027987"/>
                  <a:ext cx="722536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33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ía 57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" name="Rectángulo 19">
                  <a:extLst>
                    <a:ext uri="{FF2B5EF4-FFF2-40B4-BE49-F238E27FC236}">
                      <a16:creationId xmlns:a16="http://schemas.microsoft.com/office/drawing/2014/main" id="{FEB8A8C0-7659-F9DD-27F4-D574E5836E1B}"/>
                    </a:ext>
                  </a:extLst>
                </p:cNvPr>
                <p:cNvSpPr/>
                <p:nvPr/>
              </p:nvSpPr>
              <p:spPr>
                <a:xfrm>
                  <a:off x="2819273" y="3313182"/>
                  <a:ext cx="315310" cy="279045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1" name="Conector recto 20">
                  <a:extLst>
                    <a:ext uri="{FF2B5EF4-FFF2-40B4-BE49-F238E27FC236}">
                      <a16:creationId xmlns:a16="http://schemas.microsoft.com/office/drawing/2014/main" id="{38B09174-D201-20EE-C805-941F5A6211E9}"/>
                    </a:ext>
                  </a:extLst>
                </p:cNvPr>
                <p:cNvCxnSpPr>
                  <a:stCxn id="20" idx="1"/>
                  <a:endCxn id="20" idx="3"/>
                </p:cNvCxnSpPr>
                <p:nvPr/>
              </p:nvCxnSpPr>
              <p:spPr>
                <a:xfrm>
                  <a:off x="2819273" y="3452705"/>
                  <a:ext cx="315310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" name="Rectángulo 21">
                  <a:extLst>
                    <a:ext uri="{FF2B5EF4-FFF2-40B4-BE49-F238E27FC236}">
                      <a16:creationId xmlns:a16="http://schemas.microsoft.com/office/drawing/2014/main" id="{EC91A9B8-5734-D585-90C4-2A1A8A5B1EE1}"/>
                    </a:ext>
                  </a:extLst>
                </p:cNvPr>
                <p:cNvSpPr/>
                <p:nvPr/>
              </p:nvSpPr>
              <p:spPr>
                <a:xfrm>
                  <a:off x="4044288" y="3166091"/>
                  <a:ext cx="315310" cy="4400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3" name="Conector recto 22">
                  <a:extLst>
                    <a:ext uri="{FF2B5EF4-FFF2-40B4-BE49-F238E27FC236}">
                      <a16:creationId xmlns:a16="http://schemas.microsoft.com/office/drawing/2014/main" id="{0E009D47-44F6-1ED0-55BB-AE0F4A45C799}"/>
                    </a:ext>
                  </a:extLst>
                </p:cNvPr>
                <p:cNvCxnSpPr/>
                <p:nvPr/>
              </p:nvCxnSpPr>
              <p:spPr>
                <a:xfrm>
                  <a:off x="4047068" y="3291802"/>
                  <a:ext cx="315310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" name="Rectángulo 23">
                  <a:extLst>
                    <a:ext uri="{FF2B5EF4-FFF2-40B4-BE49-F238E27FC236}">
                      <a16:creationId xmlns:a16="http://schemas.microsoft.com/office/drawing/2014/main" id="{1C2E5E6E-0A46-7CD9-D4BB-91ABF6A3D9EA}"/>
                    </a:ext>
                  </a:extLst>
                </p:cNvPr>
                <p:cNvSpPr/>
                <p:nvPr/>
              </p:nvSpPr>
              <p:spPr>
                <a:xfrm>
                  <a:off x="5254442" y="3459783"/>
                  <a:ext cx="315310" cy="28173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5" name="Conector recto 24">
                  <a:extLst>
                    <a:ext uri="{FF2B5EF4-FFF2-40B4-BE49-F238E27FC236}">
                      <a16:creationId xmlns:a16="http://schemas.microsoft.com/office/drawing/2014/main" id="{06B03F17-A7DF-2C85-6D90-651BDB75D1BB}"/>
                    </a:ext>
                  </a:extLst>
                </p:cNvPr>
                <p:cNvCxnSpPr/>
                <p:nvPr/>
              </p:nvCxnSpPr>
              <p:spPr>
                <a:xfrm>
                  <a:off x="5254442" y="3606137"/>
                  <a:ext cx="315310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Rectángulo 25">
                  <a:extLst>
                    <a:ext uri="{FF2B5EF4-FFF2-40B4-BE49-F238E27FC236}">
                      <a16:creationId xmlns:a16="http://schemas.microsoft.com/office/drawing/2014/main" id="{6A74EFE3-A3AA-2E38-2C49-6BC1791E49BB}"/>
                    </a:ext>
                  </a:extLst>
                </p:cNvPr>
                <p:cNvSpPr/>
                <p:nvPr/>
              </p:nvSpPr>
              <p:spPr>
                <a:xfrm>
                  <a:off x="6476411" y="3741515"/>
                  <a:ext cx="315310" cy="1597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7" name="Conector recto 26">
                  <a:extLst>
                    <a:ext uri="{FF2B5EF4-FFF2-40B4-BE49-F238E27FC236}">
                      <a16:creationId xmlns:a16="http://schemas.microsoft.com/office/drawing/2014/main" id="{27128EF8-6E26-5680-BF58-FAC258D0C790}"/>
                    </a:ext>
                  </a:extLst>
                </p:cNvPr>
                <p:cNvCxnSpPr/>
                <p:nvPr/>
              </p:nvCxnSpPr>
              <p:spPr>
                <a:xfrm>
                  <a:off x="7692842" y="3900540"/>
                  <a:ext cx="315310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" name="Rectángulo 27">
                  <a:extLst>
                    <a:ext uri="{FF2B5EF4-FFF2-40B4-BE49-F238E27FC236}">
                      <a16:creationId xmlns:a16="http://schemas.microsoft.com/office/drawing/2014/main" id="{F92DB2D3-E39A-95CA-E93B-54CDD67F1572}"/>
                    </a:ext>
                  </a:extLst>
                </p:cNvPr>
                <p:cNvSpPr/>
                <p:nvPr/>
              </p:nvSpPr>
              <p:spPr>
                <a:xfrm>
                  <a:off x="1596807" y="3741515"/>
                  <a:ext cx="315310" cy="14969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Elipse 28">
                  <a:extLst>
                    <a:ext uri="{FF2B5EF4-FFF2-40B4-BE49-F238E27FC236}">
                      <a16:creationId xmlns:a16="http://schemas.microsoft.com/office/drawing/2014/main" id="{06BFDA36-BFD4-14EC-3F50-6ED8F91DBB4D}"/>
                    </a:ext>
                  </a:extLst>
                </p:cNvPr>
                <p:cNvSpPr/>
                <p:nvPr/>
              </p:nvSpPr>
              <p:spPr>
                <a:xfrm>
                  <a:off x="1731602" y="2565564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Elipse 29">
                  <a:extLst>
                    <a:ext uri="{FF2B5EF4-FFF2-40B4-BE49-F238E27FC236}">
                      <a16:creationId xmlns:a16="http://schemas.microsoft.com/office/drawing/2014/main" id="{F1407513-D69E-001B-E612-486DD715844F}"/>
                    </a:ext>
                  </a:extLst>
                </p:cNvPr>
                <p:cNvSpPr/>
                <p:nvPr/>
              </p:nvSpPr>
              <p:spPr>
                <a:xfrm>
                  <a:off x="1731601" y="3297020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Elipse 30">
                  <a:extLst>
                    <a:ext uri="{FF2B5EF4-FFF2-40B4-BE49-F238E27FC236}">
                      <a16:creationId xmlns:a16="http://schemas.microsoft.com/office/drawing/2014/main" id="{4D1C63B6-8656-3415-FF76-748CDCEAE8A9}"/>
                    </a:ext>
                  </a:extLst>
                </p:cNvPr>
                <p:cNvSpPr/>
                <p:nvPr/>
              </p:nvSpPr>
              <p:spPr>
                <a:xfrm>
                  <a:off x="1730529" y="3436923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Elipse 31">
                  <a:extLst>
                    <a:ext uri="{FF2B5EF4-FFF2-40B4-BE49-F238E27FC236}">
                      <a16:creationId xmlns:a16="http://schemas.microsoft.com/office/drawing/2014/main" id="{B8A812DB-FC2A-67E6-CDFC-5893C2C233D7}"/>
                    </a:ext>
                  </a:extLst>
                </p:cNvPr>
                <p:cNvSpPr/>
                <p:nvPr/>
              </p:nvSpPr>
              <p:spPr>
                <a:xfrm>
                  <a:off x="2954068" y="2702947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Elipse 32">
                  <a:extLst>
                    <a:ext uri="{FF2B5EF4-FFF2-40B4-BE49-F238E27FC236}">
                      <a16:creationId xmlns:a16="http://schemas.microsoft.com/office/drawing/2014/main" id="{3E247111-384F-B256-B78B-A12DC7DB9E77}"/>
                    </a:ext>
                  </a:extLst>
                </p:cNvPr>
                <p:cNvSpPr/>
                <p:nvPr/>
              </p:nvSpPr>
              <p:spPr>
                <a:xfrm>
                  <a:off x="2954068" y="2562433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Elipse 33">
                  <a:extLst>
                    <a:ext uri="{FF2B5EF4-FFF2-40B4-BE49-F238E27FC236}">
                      <a16:creationId xmlns:a16="http://schemas.microsoft.com/office/drawing/2014/main" id="{F4FFF1E9-292F-2A51-1095-CF89F5C40EB4}"/>
                    </a:ext>
                  </a:extLst>
                </p:cNvPr>
                <p:cNvSpPr/>
                <p:nvPr/>
              </p:nvSpPr>
              <p:spPr>
                <a:xfrm>
                  <a:off x="4180462" y="2403761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Elipse 34">
                  <a:extLst>
                    <a:ext uri="{FF2B5EF4-FFF2-40B4-BE49-F238E27FC236}">
                      <a16:creationId xmlns:a16="http://schemas.microsoft.com/office/drawing/2014/main" id="{5E6E09C3-74A6-0685-9CAB-C9328A4760A7}"/>
                    </a:ext>
                  </a:extLst>
                </p:cNvPr>
                <p:cNvSpPr/>
                <p:nvPr/>
              </p:nvSpPr>
              <p:spPr>
                <a:xfrm>
                  <a:off x="4181136" y="2272858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Elipse 35">
                  <a:extLst>
                    <a:ext uri="{FF2B5EF4-FFF2-40B4-BE49-F238E27FC236}">
                      <a16:creationId xmlns:a16="http://schemas.microsoft.com/office/drawing/2014/main" id="{DAF9E4E9-08ED-83DC-2B67-F8715244E58A}"/>
                    </a:ext>
                  </a:extLst>
                </p:cNvPr>
                <p:cNvSpPr/>
                <p:nvPr/>
              </p:nvSpPr>
              <p:spPr>
                <a:xfrm>
                  <a:off x="4179674" y="2128099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Elipse 36">
                  <a:extLst>
                    <a:ext uri="{FF2B5EF4-FFF2-40B4-BE49-F238E27FC236}">
                      <a16:creationId xmlns:a16="http://schemas.microsoft.com/office/drawing/2014/main" id="{2F80561A-9BC3-77B8-935F-3074C9913635}"/>
                    </a:ext>
                  </a:extLst>
                </p:cNvPr>
                <p:cNvSpPr/>
                <p:nvPr/>
              </p:nvSpPr>
              <p:spPr>
                <a:xfrm>
                  <a:off x="5388362" y="2707222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Elipse 37">
                  <a:extLst>
                    <a:ext uri="{FF2B5EF4-FFF2-40B4-BE49-F238E27FC236}">
                      <a16:creationId xmlns:a16="http://schemas.microsoft.com/office/drawing/2014/main" id="{C6802ADA-AE29-E7C3-4FF6-5954C586BED1}"/>
                    </a:ext>
                  </a:extLst>
                </p:cNvPr>
                <p:cNvSpPr/>
                <p:nvPr/>
              </p:nvSpPr>
              <p:spPr>
                <a:xfrm>
                  <a:off x="5386900" y="2562463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Elipse 38">
                  <a:extLst>
                    <a:ext uri="{FF2B5EF4-FFF2-40B4-BE49-F238E27FC236}">
                      <a16:creationId xmlns:a16="http://schemas.microsoft.com/office/drawing/2014/main" id="{2ABCE663-9477-083F-AEFD-B32D7900ABA9}"/>
                    </a:ext>
                  </a:extLst>
                </p:cNvPr>
                <p:cNvSpPr/>
                <p:nvPr/>
              </p:nvSpPr>
              <p:spPr>
                <a:xfrm>
                  <a:off x="6606890" y="3421420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Elipse 39">
                  <a:extLst>
                    <a:ext uri="{FF2B5EF4-FFF2-40B4-BE49-F238E27FC236}">
                      <a16:creationId xmlns:a16="http://schemas.microsoft.com/office/drawing/2014/main" id="{52FB26F2-5F0D-D408-5AB8-89F6BEDE0755}"/>
                    </a:ext>
                  </a:extLst>
                </p:cNvPr>
                <p:cNvSpPr/>
                <p:nvPr/>
              </p:nvSpPr>
              <p:spPr>
                <a:xfrm>
                  <a:off x="6605428" y="3276661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41" name="Conector recto 40">
                  <a:extLst>
                    <a:ext uri="{FF2B5EF4-FFF2-40B4-BE49-F238E27FC236}">
                      <a16:creationId xmlns:a16="http://schemas.microsoft.com/office/drawing/2014/main" id="{91374A1A-5E10-6811-1185-A97B2A3B5C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756652" y="3606137"/>
                  <a:ext cx="1073" cy="135378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Conector recto 41">
                  <a:extLst>
                    <a:ext uri="{FF2B5EF4-FFF2-40B4-BE49-F238E27FC236}">
                      <a16:creationId xmlns:a16="http://schemas.microsoft.com/office/drawing/2014/main" id="{282A2432-CE7B-3B05-76BA-D628033E11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18322" y="3606137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Conector recto 42">
                  <a:extLst>
                    <a:ext uri="{FF2B5EF4-FFF2-40B4-BE49-F238E27FC236}">
                      <a16:creationId xmlns:a16="http://schemas.microsoft.com/office/drawing/2014/main" id="{E4B86CC1-EEB4-716F-AC5C-6F6E467FCDD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76831" y="2880181"/>
                  <a:ext cx="0" cy="422311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Conector recto 43">
                  <a:extLst>
                    <a:ext uri="{FF2B5EF4-FFF2-40B4-BE49-F238E27FC236}">
                      <a16:creationId xmlns:a16="http://schemas.microsoft.com/office/drawing/2014/main" id="{55811FB7-0908-0B07-A9C4-D056144E11E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48088" y="2880181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5" name="Forma libre: forma 44">
                  <a:extLst>
                    <a:ext uri="{FF2B5EF4-FFF2-40B4-BE49-F238E27FC236}">
                      <a16:creationId xmlns:a16="http://schemas.microsoft.com/office/drawing/2014/main" id="{3B03014D-0096-9923-B6D8-918D1974C4C5}"/>
                    </a:ext>
                  </a:extLst>
                </p:cNvPr>
                <p:cNvSpPr/>
                <p:nvPr/>
              </p:nvSpPr>
              <p:spPr>
                <a:xfrm rot="16200000">
                  <a:off x="4523518" y="484433"/>
                  <a:ext cx="552624" cy="6167362"/>
                </a:xfrm>
                <a:custGeom>
                  <a:avLst/>
                  <a:gdLst>
                    <a:gd name="connsiteX0" fmla="*/ 64825 w 688554"/>
                    <a:gd name="connsiteY0" fmla="*/ 0 h 2695441"/>
                    <a:gd name="connsiteX1" fmla="*/ 682891 w 688554"/>
                    <a:gd name="connsiteY1" fmla="*/ 838200 h 2695441"/>
                    <a:gd name="connsiteX2" fmla="*/ 352691 w 688554"/>
                    <a:gd name="connsiteY2" fmla="*/ 1532467 h 2695441"/>
                    <a:gd name="connsiteX3" fmla="*/ 30958 w 688554"/>
                    <a:gd name="connsiteY3" fmla="*/ 2590800 h 2695441"/>
                    <a:gd name="connsiteX4" fmla="*/ 30958 w 688554"/>
                    <a:gd name="connsiteY4" fmla="*/ 2599267 h 2695441"/>
                    <a:gd name="connsiteX0" fmla="*/ 64825 w 684428"/>
                    <a:gd name="connsiteY0" fmla="*/ 0 h 2695441"/>
                    <a:gd name="connsiteX1" fmla="*/ 682891 w 684428"/>
                    <a:gd name="connsiteY1" fmla="*/ 838200 h 2695441"/>
                    <a:gd name="connsiteX2" fmla="*/ 234158 w 684428"/>
                    <a:gd name="connsiteY2" fmla="*/ 1764525 h 2695441"/>
                    <a:gd name="connsiteX3" fmla="*/ 30958 w 684428"/>
                    <a:gd name="connsiteY3" fmla="*/ 2590800 h 2695441"/>
                    <a:gd name="connsiteX4" fmla="*/ 30958 w 684428"/>
                    <a:gd name="connsiteY4" fmla="*/ 2599267 h 2695441"/>
                    <a:gd name="connsiteX0" fmla="*/ 56207 w 675810"/>
                    <a:gd name="connsiteY0" fmla="*/ 0 h 2675258"/>
                    <a:gd name="connsiteX1" fmla="*/ 674273 w 675810"/>
                    <a:gd name="connsiteY1" fmla="*/ 838200 h 2675258"/>
                    <a:gd name="connsiteX2" fmla="*/ 225540 w 675810"/>
                    <a:gd name="connsiteY2" fmla="*/ 1764525 h 2675258"/>
                    <a:gd name="connsiteX3" fmla="*/ 22340 w 675810"/>
                    <a:gd name="connsiteY3" fmla="*/ 2590800 h 2675258"/>
                    <a:gd name="connsiteX4" fmla="*/ 22340 w 675810"/>
                    <a:gd name="connsiteY4" fmla="*/ 2599267 h 2675258"/>
                    <a:gd name="connsiteX0" fmla="*/ 56207 w 556039"/>
                    <a:gd name="connsiteY0" fmla="*/ 0 h 2675258"/>
                    <a:gd name="connsiteX1" fmla="*/ 553969 w 556039"/>
                    <a:gd name="connsiteY1" fmla="*/ 1067624 h 2675258"/>
                    <a:gd name="connsiteX2" fmla="*/ 225540 w 556039"/>
                    <a:gd name="connsiteY2" fmla="*/ 1764525 h 2675258"/>
                    <a:gd name="connsiteX3" fmla="*/ 22340 w 556039"/>
                    <a:gd name="connsiteY3" fmla="*/ 2590800 h 2675258"/>
                    <a:gd name="connsiteX4" fmla="*/ 22340 w 556039"/>
                    <a:gd name="connsiteY4" fmla="*/ 2599267 h 2675258"/>
                    <a:gd name="connsiteX0" fmla="*/ 56207 w 567870"/>
                    <a:gd name="connsiteY0" fmla="*/ 0 h 2675258"/>
                    <a:gd name="connsiteX1" fmla="*/ 553969 w 567870"/>
                    <a:gd name="connsiteY1" fmla="*/ 1067624 h 2675258"/>
                    <a:gd name="connsiteX2" fmla="*/ 225540 w 567870"/>
                    <a:gd name="connsiteY2" fmla="*/ 1764525 h 2675258"/>
                    <a:gd name="connsiteX3" fmla="*/ 22340 w 567870"/>
                    <a:gd name="connsiteY3" fmla="*/ 2590800 h 2675258"/>
                    <a:gd name="connsiteX4" fmla="*/ 22340 w 567870"/>
                    <a:gd name="connsiteY4" fmla="*/ 2599267 h 2675258"/>
                    <a:gd name="connsiteX0" fmla="*/ 56207 w 557133"/>
                    <a:gd name="connsiteY0" fmla="*/ 0 h 2675258"/>
                    <a:gd name="connsiteX1" fmla="*/ 553969 w 557133"/>
                    <a:gd name="connsiteY1" fmla="*/ 1067624 h 2675258"/>
                    <a:gd name="connsiteX2" fmla="*/ 225540 w 557133"/>
                    <a:gd name="connsiteY2" fmla="*/ 1764525 h 2675258"/>
                    <a:gd name="connsiteX3" fmla="*/ 22340 w 557133"/>
                    <a:gd name="connsiteY3" fmla="*/ 2590800 h 2675258"/>
                    <a:gd name="connsiteX4" fmla="*/ 22340 w 557133"/>
                    <a:gd name="connsiteY4" fmla="*/ 2599267 h 2675258"/>
                    <a:gd name="connsiteX0" fmla="*/ 56207 w 559352"/>
                    <a:gd name="connsiteY0" fmla="*/ 0 h 2711949"/>
                    <a:gd name="connsiteX1" fmla="*/ 553969 w 559352"/>
                    <a:gd name="connsiteY1" fmla="*/ 1067624 h 2711949"/>
                    <a:gd name="connsiteX2" fmla="*/ 225540 w 559352"/>
                    <a:gd name="connsiteY2" fmla="*/ 1764525 h 2711949"/>
                    <a:gd name="connsiteX3" fmla="*/ 557133 w 559352"/>
                    <a:gd name="connsiteY3" fmla="*/ 2675258 h 2711949"/>
                    <a:gd name="connsiteX4" fmla="*/ 22340 w 559352"/>
                    <a:gd name="connsiteY4" fmla="*/ 2590800 h 2711949"/>
                    <a:gd name="connsiteX5" fmla="*/ 22340 w 559352"/>
                    <a:gd name="connsiteY5" fmla="*/ 2599267 h 2711949"/>
                    <a:gd name="connsiteX0" fmla="*/ 56207 w 557133"/>
                    <a:gd name="connsiteY0" fmla="*/ 0 h 2675258"/>
                    <a:gd name="connsiteX1" fmla="*/ 553969 w 557133"/>
                    <a:gd name="connsiteY1" fmla="*/ 1067624 h 2675258"/>
                    <a:gd name="connsiteX2" fmla="*/ 225540 w 557133"/>
                    <a:gd name="connsiteY2" fmla="*/ 1764525 h 2675258"/>
                    <a:gd name="connsiteX3" fmla="*/ 55827 w 557133"/>
                    <a:gd name="connsiteY3" fmla="*/ 2132591 h 2675258"/>
                    <a:gd name="connsiteX4" fmla="*/ 22340 w 557133"/>
                    <a:gd name="connsiteY4" fmla="*/ 2590800 h 2675258"/>
                    <a:gd name="connsiteX5" fmla="*/ 22340 w 557133"/>
                    <a:gd name="connsiteY5" fmla="*/ 2599267 h 2675258"/>
                    <a:gd name="connsiteX0" fmla="*/ 37284 w 538272"/>
                    <a:gd name="connsiteY0" fmla="*/ 0 h 2704687"/>
                    <a:gd name="connsiteX1" fmla="*/ 535046 w 538272"/>
                    <a:gd name="connsiteY1" fmla="*/ 1067624 h 2704687"/>
                    <a:gd name="connsiteX2" fmla="*/ 206617 w 538272"/>
                    <a:gd name="connsiteY2" fmla="*/ 1764525 h 2704687"/>
                    <a:gd name="connsiteX3" fmla="*/ 36904 w 538272"/>
                    <a:gd name="connsiteY3" fmla="*/ 2132591 h 2704687"/>
                    <a:gd name="connsiteX4" fmla="*/ 3417 w 538272"/>
                    <a:gd name="connsiteY4" fmla="*/ 2590800 h 2704687"/>
                    <a:gd name="connsiteX5" fmla="*/ 538210 w 538272"/>
                    <a:gd name="connsiteY5" fmla="*/ 2675258 h 2704687"/>
                    <a:gd name="connsiteX0" fmla="*/ 83003 w 583929"/>
                    <a:gd name="connsiteY0" fmla="*/ 0 h 2887861"/>
                    <a:gd name="connsiteX1" fmla="*/ 580765 w 583929"/>
                    <a:gd name="connsiteY1" fmla="*/ 1067624 h 2887861"/>
                    <a:gd name="connsiteX2" fmla="*/ 252336 w 583929"/>
                    <a:gd name="connsiteY2" fmla="*/ 1764525 h 2887861"/>
                    <a:gd name="connsiteX3" fmla="*/ 82623 w 583929"/>
                    <a:gd name="connsiteY3" fmla="*/ 2132591 h 2887861"/>
                    <a:gd name="connsiteX4" fmla="*/ 49136 w 583929"/>
                    <a:gd name="connsiteY4" fmla="*/ 2590800 h 2887861"/>
                    <a:gd name="connsiteX5" fmla="*/ 0 w 583929"/>
                    <a:gd name="connsiteY5" fmla="*/ 2886941 h 2887861"/>
                    <a:gd name="connsiteX0" fmla="*/ 33867 w 534793"/>
                    <a:gd name="connsiteY0" fmla="*/ 0 h 2590800"/>
                    <a:gd name="connsiteX1" fmla="*/ 531629 w 534793"/>
                    <a:gd name="connsiteY1" fmla="*/ 1067624 h 2590800"/>
                    <a:gd name="connsiteX2" fmla="*/ 203200 w 534793"/>
                    <a:gd name="connsiteY2" fmla="*/ 1764525 h 2590800"/>
                    <a:gd name="connsiteX3" fmla="*/ 33487 w 534793"/>
                    <a:gd name="connsiteY3" fmla="*/ 2132591 h 2590800"/>
                    <a:gd name="connsiteX4" fmla="*/ 0 w 534793"/>
                    <a:gd name="connsiteY4" fmla="*/ 2590800 h 2590800"/>
                    <a:gd name="connsiteX0" fmla="*/ 40691 w 541617"/>
                    <a:gd name="connsiteY0" fmla="*/ 0 h 2673631"/>
                    <a:gd name="connsiteX1" fmla="*/ 538453 w 541617"/>
                    <a:gd name="connsiteY1" fmla="*/ 1067624 h 2673631"/>
                    <a:gd name="connsiteX2" fmla="*/ 210024 w 541617"/>
                    <a:gd name="connsiteY2" fmla="*/ 1764525 h 2673631"/>
                    <a:gd name="connsiteX3" fmla="*/ 40311 w 541617"/>
                    <a:gd name="connsiteY3" fmla="*/ 2132591 h 2673631"/>
                    <a:gd name="connsiteX4" fmla="*/ 0 w 541617"/>
                    <a:gd name="connsiteY4" fmla="*/ 2673631 h 2673631"/>
                    <a:gd name="connsiteX0" fmla="*/ 47513 w 548439"/>
                    <a:gd name="connsiteY0" fmla="*/ 0 h 2673632"/>
                    <a:gd name="connsiteX1" fmla="*/ 545275 w 548439"/>
                    <a:gd name="connsiteY1" fmla="*/ 1067624 h 2673632"/>
                    <a:gd name="connsiteX2" fmla="*/ 216846 w 548439"/>
                    <a:gd name="connsiteY2" fmla="*/ 1764525 h 2673632"/>
                    <a:gd name="connsiteX3" fmla="*/ 47133 w 548439"/>
                    <a:gd name="connsiteY3" fmla="*/ 2132591 h 2673632"/>
                    <a:gd name="connsiteX4" fmla="*/ 0 w 548439"/>
                    <a:gd name="connsiteY4" fmla="*/ 2673632 h 2673632"/>
                    <a:gd name="connsiteX0" fmla="*/ 47513 w 548439"/>
                    <a:gd name="connsiteY0" fmla="*/ 0 h 2673632"/>
                    <a:gd name="connsiteX1" fmla="*/ 545275 w 548439"/>
                    <a:gd name="connsiteY1" fmla="*/ 1067624 h 2673632"/>
                    <a:gd name="connsiteX2" fmla="*/ 216846 w 548439"/>
                    <a:gd name="connsiteY2" fmla="*/ 1764525 h 2673632"/>
                    <a:gd name="connsiteX3" fmla="*/ 47133 w 548439"/>
                    <a:gd name="connsiteY3" fmla="*/ 2132591 h 2673632"/>
                    <a:gd name="connsiteX4" fmla="*/ 0 w 548439"/>
                    <a:gd name="connsiteY4" fmla="*/ 2673632 h 2673632"/>
                    <a:gd name="connsiteX0" fmla="*/ 47513 w 550662"/>
                    <a:gd name="connsiteY0" fmla="*/ 0 h 2673632"/>
                    <a:gd name="connsiteX1" fmla="*/ 394087 w 550662"/>
                    <a:gd name="connsiteY1" fmla="*/ 556817 h 2673632"/>
                    <a:gd name="connsiteX2" fmla="*/ 545275 w 550662"/>
                    <a:gd name="connsiteY2" fmla="*/ 1067624 h 2673632"/>
                    <a:gd name="connsiteX3" fmla="*/ 216846 w 550662"/>
                    <a:gd name="connsiteY3" fmla="*/ 1764525 h 2673632"/>
                    <a:gd name="connsiteX4" fmla="*/ 47133 w 550662"/>
                    <a:gd name="connsiteY4" fmla="*/ 2132591 h 2673632"/>
                    <a:gd name="connsiteX5" fmla="*/ 0 w 550662"/>
                    <a:gd name="connsiteY5" fmla="*/ 2673632 h 2673632"/>
                    <a:gd name="connsiteX0" fmla="*/ 47513 w 547769"/>
                    <a:gd name="connsiteY0" fmla="*/ 0 h 2673632"/>
                    <a:gd name="connsiteX1" fmla="*/ 394087 w 547769"/>
                    <a:gd name="connsiteY1" fmla="*/ 556817 h 2673632"/>
                    <a:gd name="connsiteX2" fmla="*/ 545275 w 547769"/>
                    <a:gd name="connsiteY2" fmla="*/ 1067624 h 2673632"/>
                    <a:gd name="connsiteX3" fmla="*/ 283728 w 547769"/>
                    <a:gd name="connsiteY3" fmla="*/ 1588834 h 2673632"/>
                    <a:gd name="connsiteX4" fmla="*/ 47133 w 547769"/>
                    <a:gd name="connsiteY4" fmla="*/ 2132591 h 2673632"/>
                    <a:gd name="connsiteX5" fmla="*/ 0 w 547769"/>
                    <a:gd name="connsiteY5" fmla="*/ 2673632 h 2673632"/>
                    <a:gd name="connsiteX0" fmla="*/ 47513 w 554091"/>
                    <a:gd name="connsiteY0" fmla="*/ 0 h 2673632"/>
                    <a:gd name="connsiteX1" fmla="*/ 394087 w 554091"/>
                    <a:gd name="connsiteY1" fmla="*/ 556817 h 2673632"/>
                    <a:gd name="connsiteX2" fmla="*/ 551742 w 554091"/>
                    <a:gd name="connsiteY2" fmla="*/ 1069408 h 2673632"/>
                    <a:gd name="connsiteX3" fmla="*/ 283728 w 554091"/>
                    <a:gd name="connsiteY3" fmla="*/ 1588834 h 2673632"/>
                    <a:gd name="connsiteX4" fmla="*/ 47133 w 554091"/>
                    <a:gd name="connsiteY4" fmla="*/ 2132591 h 2673632"/>
                    <a:gd name="connsiteX5" fmla="*/ 0 w 554091"/>
                    <a:gd name="connsiteY5" fmla="*/ 2673632 h 2673632"/>
                    <a:gd name="connsiteX0" fmla="*/ 47513 w 552624"/>
                    <a:gd name="connsiteY0" fmla="*/ 0 h 2673632"/>
                    <a:gd name="connsiteX1" fmla="*/ 394087 w 552624"/>
                    <a:gd name="connsiteY1" fmla="*/ 556817 h 2673632"/>
                    <a:gd name="connsiteX2" fmla="*/ 551742 w 552624"/>
                    <a:gd name="connsiteY2" fmla="*/ 1069408 h 2673632"/>
                    <a:gd name="connsiteX3" fmla="*/ 283728 w 552624"/>
                    <a:gd name="connsiteY3" fmla="*/ 1588834 h 2673632"/>
                    <a:gd name="connsiteX4" fmla="*/ 47133 w 552624"/>
                    <a:gd name="connsiteY4" fmla="*/ 2132591 h 2673632"/>
                    <a:gd name="connsiteX5" fmla="*/ 0 w 552624"/>
                    <a:gd name="connsiteY5" fmla="*/ 2673632 h 2673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52624" h="2673632">
                      <a:moveTo>
                        <a:pt x="47513" y="0"/>
                      </a:moveTo>
                      <a:cubicBezTo>
                        <a:pt x="113158" y="92803"/>
                        <a:pt x="311127" y="378880"/>
                        <a:pt x="394087" y="556817"/>
                      </a:cubicBezTo>
                      <a:cubicBezTo>
                        <a:pt x="477047" y="734754"/>
                        <a:pt x="535977" y="895128"/>
                        <a:pt x="551742" y="1069408"/>
                      </a:cubicBezTo>
                      <a:cubicBezTo>
                        <a:pt x="567507" y="1243688"/>
                        <a:pt x="367829" y="1411637"/>
                        <a:pt x="283728" y="1588834"/>
                      </a:cubicBezTo>
                      <a:cubicBezTo>
                        <a:pt x="199627" y="1766031"/>
                        <a:pt x="81000" y="1994879"/>
                        <a:pt x="47133" y="2132591"/>
                      </a:cubicBezTo>
                      <a:cubicBezTo>
                        <a:pt x="13266" y="2270303"/>
                        <a:pt x="4445" y="2604729"/>
                        <a:pt x="0" y="2673632"/>
                      </a:cubicBezTo>
                    </a:path>
                  </a:pathLst>
                </a:custGeom>
                <a:noFill/>
                <a:ln w="28575">
                  <a:solidFill>
                    <a:srgbClr val="E8434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46" name="Conector recto 45">
                  <a:extLst>
                    <a:ext uri="{FF2B5EF4-FFF2-40B4-BE49-F238E27FC236}">
                      <a16:creationId xmlns:a16="http://schemas.microsoft.com/office/drawing/2014/main" id="{8B6C88A9-B97D-C240-10A1-51D78DFC830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75074" y="3606137"/>
                  <a:ext cx="0" cy="285074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Conector recto 46">
                  <a:extLst>
                    <a:ext uri="{FF2B5EF4-FFF2-40B4-BE49-F238E27FC236}">
                      <a16:creationId xmlns:a16="http://schemas.microsoft.com/office/drawing/2014/main" id="{478FFE2F-3EE9-DA91-4FCD-89C40076FA7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37995" y="3893214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8" name="Elipse 47">
                  <a:extLst>
                    <a:ext uri="{FF2B5EF4-FFF2-40B4-BE49-F238E27FC236}">
                      <a16:creationId xmlns:a16="http://schemas.microsoft.com/office/drawing/2014/main" id="{9B138B38-CDE5-6367-DDE4-40A41F822516}"/>
                    </a:ext>
                  </a:extLst>
                </p:cNvPr>
                <p:cNvSpPr/>
                <p:nvPr/>
              </p:nvSpPr>
              <p:spPr>
                <a:xfrm>
                  <a:off x="7826729" y="3729424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Elipse 48">
                  <a:extLst>
                    <a:ext uri="{FF2B5EF4-FFF2-40B4-BE49-F238E27FC236}">
                      <a16:creationId xmlns:a16="http://schemas.microsoft.com/office/drawing/2014/main" id="{6700A70C-8541-7D43-FF81-D140FFFE3F53}"/>
                    </a:ext>
                  </a:extLst>
                </p:cNvPr>
                <p:cNvSpPr/>
                <p:nvPr/>
              </p:nvSpPr>
              <p:spPr>
                <a:xfrm>
                  <a:off x="7825267" y="3584665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Elipse 49">
                  <a:extLst>
                    <a:ext uri="{FF2B5EF4-FFF2-40B4-BE49-F238E27FC236}">
                      <a16:creationId xmlns:a16="http://schemas.microsoft.com/office/drawing/2014/main" id="{EAAB7C04-A87D-8DD2-C29B-3EDC88B901C5}"/>
                    </a:ext>
                  </a:extLst>
                </p:cNvPr>
                <p:cNvSpPr/>
                <p:nvPr/>
              </p:nvSpPr>
              <p:spPr>
                <a:xfrm>
                  <a:off x="7825267" y="3448775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Elipse 50">
                  <a:extLst>
                    <a:ext uri="{FF2B5EF4-FFF2-40B4-BE49-F238E27FC236}">
                      <a16:creationId xmlns:a16="http://schemas.microsoft.com/office/drawing/2014/main" id="{0F76525F-E7FC-E6CD-FDCA-C2F876E26313}"/>
                    </a:ext>
                  </a:extLst>
                </p:cNvPr>
                <p:cNvSpPr/>
                <p:nvPr/>
              </p:nvSpPr>
              <p:spPr>
                <a:xfrm>
                  <a:off x="7823805" y="3304016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52" name="Conector recto 51">
                  <a:extLst>
                    <a:ext uri="{FF2B5EF4-FFF2-40B4-BE49-F238E27FC236}">
                      <a16:creationId xmlns:a16="http://schemas.microsoft.com/office/drawing/2014/main" id="{38BD65EB-1A1D-8A91-F12E-8EDD19F838A6}"/>
                    </a:ext>
                  </a:extLst>
                </p:cNvPr>
                <p:cNvCxnSpPr>
                  <a:cxnSpLocks/>
                  <a:endCxn id="22" idx="0"/>
                </p:cNvCxnSpPr>
                <p:nvPr/>
              </p:nvCxnSpPr>
              <p:spPr>
                <a:xfrm>
                  <a:off x="4198692" y="2579803"/>
                  <a:ext cx="3251" cy="586288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Conector recto 52">
                  <a:extLst>
                    <a:ext uri="{FF2B5EF4-FFF2-40B4-BE49-F238E27FC236}">
                      <a16:creationId xmlns:a16="http://schemas.microsoft.com/office/drawing/2014/main" id="{6D9BFAE0-94DC-C78A-DFA0-484252D044A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69949" y="2579803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Conector recto 53">
                  <a:extLst>
                    <a:ext uri="{FF2B5EF4-FFF2-40B4-BE49-F238E27FC236}">
                      <a16:creationId xmlns:a16="http://schemas.microsoft.com/office/drawing/2014/main" id="{9EBD4E5F-A10C-F7F9-5F30-EE5DE185AE9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98692" y="3604564"/>
                  <a:ext cx="0" cy="285074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Conector recto 54">
                  <a:extLst>
                    <a:ext uri="{FF2B5EF4-FFF2-40B4-BE49-F238E27FC236}">
                      <a16:creationId xmlns:a16="http://schemas.microsoft.com/office/drawing/2014/main" id="{6C0306E0-C2FD-4BDC-4AF6-036257FBC4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69714" y="3889638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Conector recto 55">
                  <a:extLst>
                    <a:ext uri="{FF2B5EF4-FFF2-40B4-BE49-F238E27FC236}">
                      <a16:creationId xmlns:a16="http://schemas.microsoft.com/office/drawing/2014/main" id="{864AC4A1-B8BB-89A1-E671-5F6243D8004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07119" y="3022677"/>
                  <a:ext cx="1757" cy="434147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Conector recto 56">
                  <a:extLst>
                    <a:ext uri="{FF2B5EF4-FFF2-40B4-BE49-F238E27FC236}">
                      <a16:creationId xmlns:a16="http://schemas.microsoft.com/office/drawing/2014/main" id="{B3593945-E80A-B9B0-83BA-7927E5F6B0F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74215" y="3022677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Conector recto 57">
                  <a:extLst>
                    <a:ext uri="{FF2B5EF4-FFF2-40B4-BE49-F238E27FC236}">
                      <a16:creationId xmlns:a16="http://schemas.microsoft.com/office/drawing/2014/main" id="{975A1204-94DC-D462-DF3D-AFB26293C5C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07119" y="3741515"/>
                  <a:ext cx="0" cy="146354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Conector recto 58">
                  <a:extLst>
                    <a:ext uri="{FF2B5EF4-FFF2-40B4-BE49-F238E27FC236}">
                      <a16:creationId xmlns:a16="http://schemas.microsoft.com/office/drawing/2014/main" id="{85BDC32F-9BCB-227A-B87D-A2521106F97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73688" y="3887846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Conector recto 59">
                  <a:extLst>
                    <a:ext uri="{FF2B5EF4-FFF2-40B4-BE49-F238E27FC236}">
                      <a16:creationId xmlns:a16="http://schemas.microsoft.com/office/drawing/2014/main" id="{BB8A568E-BECD-DB68-4FC3-1D5CD53FEF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31129" y="3604564"/>
                  <a:ext cx="0" cy="130778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Conector recto 60">
                  <a:extLst>
                    <a:ext uri="{FF2B5EF4-FFF2-40B4-BE49-F238E27FC236}">
                      <a16:creationId xmlns:a16="http://schemas.microsoft.com/office/drawing/2014/main" id="{1E3E243A-549D-F796-BFB1-E458F3F3AB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598900" y="3606137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Conector recto 61">
                  <a:extLst>
                    <a:ext uri="{FF2B5EF4-FFF2-40B4-BE49-F238E27FC236}">
                      <a16:creationId xmlns:a16="http://schemas.microsoft.com/office/drawing/2014/main" id="{BC8A517C-F739-5283-E0BF-3D68B0C5B12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56110" y="3967922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Conector recto 62">
                  <a:extLst>
                    <a:ext uri="{FF2B5EF4-FFF2-40B4-BE49-F238E27FC236}">
                      <a16:creationId xmlns:a16="http://schemas.microsoft.com/office/drawing/2014/main" id="{76912FE3-AC1E-7651-D6EF-A53502A66E2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78884" y="3967922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Conector recto 63">
                  <a:extLst>
                    <a:ext uri="{FF2B5EF4-FFF2-40B4-BE49-F238E27FC236}">
                      <a16:creationId xmlns:a16="http://schemas.microsoft.com/office/drawing/2014/main" id="{7B08C8EB-E586-7C23-DF0C-B1728639DC3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96417" y="3967922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Conector recto 64">
                  <a:extLst>
                    <a:ext uri="{FF2B5EF4-FFF2-40B4-BE49-F238E27FC236}">
                      <a16:creationId xmlns:a16="http://schemas.microsoft.com/office/drawing/2014/main" id="{91656523-1236-372D-5237-F9999691C4B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05917" y="3968457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Conector recto 65">
                  <a:extLst>
                    <a:ext uri="{FF2B5EF4-FFF2-40B4-BE49-F238E27FC236}">
                      <a16:creationId xmlns:a16="http://schemas.microsoft.com/office/drawing/2014/main" id="{B29C466E-11B2-C875-5E4F-1F034E2FEF8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36547" y="3972267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Conector recto 66">
                  <a:extLst>
                    <a:ext uri="{FF2B5EF4-FFF2-40B4-BE49-F238E27FC236}">
                      <a16:creationId xmlns:a16="http://schemas.microsoft.com/office/drawing/2014/main" id="{7083D474-0215-1894-1390-D6FFF06F45F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848127" y="3972267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Conector recto 67">
                  <a:extLst>
                    <a:ext uri="{FF2B5EF4-FFF2-40B4-BE49-F238E27FC236}">
                      <a16:creationId xmlns:a16="http://schemas.microsoft.com/office/drawing/2014/main" id="{81F1EA98-5ABE-F77E-41A8-E5725F422B3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887846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Conector recto 68">
                  <a:extLst>
                    <a:ext uri="{FF2B5EF4-FFF2-40B4-BE49-F238E27FC236}">
                      <a16:creationId xmlns:a16="http://schemas.microsoft.com/office/drawing/2014/main" id="{ECF82885-1052-32D8-4868-726EA6CFB6D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742664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Conector recto 69">
                  <a:extLst>
                    <a:ext uri="{FF2B5EF4-FFF2-40B4-BE49-F238E27FC236}">
                      <a16:creationId xmlns:a16="http://schemas.microsoft.com/office/drawing/2014/main" id="{DCBBF2B4-F298-797F-CA40-E32DB694546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597480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Conector recto 70">
                  <a:extLst>
                    <a:ext uri="{FF2B5EF4-FFF2-40B4-BE49-F238E27FC236}">
                      <a16:creationId xmlns:a16="http://schemas.microsoft.com/office/drawing/2014/main" id="{D6546474-77B8-E146-E4F3-FD94EF3F2CA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452296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Conector recto 71">
                  <a:extLst>
                    <a:ext uri="{FF2B5EF4-FFF2-40B4-BE49-F238E27FC236}">
                      <a16:creationId xmlns:a16="http://schemas.microsoft.com/office/drawing/2014/main" id="{8ED0587C-0C27-05B8-AF55-23BFC92C545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307112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Conector recto 72">
                  <a:extLst>
                    <a:ext uri="{FF2B5EF4-FFF2-40B4-BE49-F238E27FC236}">
                      <a16:creationId xmlns:a16="http://schemas.microsoft.com/office/drawing/2014/main" id="{04B604C6-02D5-DFA3-8E88-75566BA3511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161928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Conector recto 73">
                  <a:extLst>
                    <a:ext uri="{FF2B5EF4-FFF2-40B4-BE49-F238E27FC236}">
                      <a16:creationId xmlns:a16="http://schemas.microsoft.com/office/drawing/2014/main" id="{9B5FD8BA-129F-F257-B224-EEB95658BB4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016744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Conector recto 74">
                  <a:extLst>
                    <a:ext uri="{FF2B5EF4-FFF2-40B4-BE49-F238E27FC236}">
                      <a16:creationId xmlns:a16="http://schemas.microsoft.com/office/drawing/2014/main" id="{50167DF8-2278-A4FA-9F4F-E9F246723BE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871560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Conector recto 75">
                  <a:extLst>
                    <a:ext uri="{FF2B5EF4-FFF2-40B4-BE49-F238E27FC236}">
                      <a16:creationId xmlns:a16="http://schemas.microsoft.com/office/drawing/2014/main" id="{26A33ECD-16DA-CFE3-4C65-AEE443539FB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726376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Conector recto 76">
                  <a:extLst>
                    <a:ext uri="{FF2B5EF4-FFF2-40B4-BE49-F238E27FC236}">
                      <a16:creationId xmlns:a16="http://schemas.microsoft.com/office/drawing/2014/main" id="{12A12682-BB17-CE30-E0C4-AD1F4BFA01F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581192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Conector recto 77">
                  <a:extLst>
                    <a:ext uri="{FF2B5EF4-FFF2-40B4-BE49-F238E27FC236}">
                      <a16:creationId xmlns:a16="http://schemas.microsoft.com/office/drawing/2014/main" id="{0733095E-BEA9-4321-3449-849770999FF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436008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Conector recto 78">
                  <a:extLst>
                    <a:ext uri="{FF2B5EF4-FFF2-40B4-BE49-F238E27FC236}">
                      <a16:creationId xmlns:a16="http://schemas.microsoft.com/office/drawing/2014/main" id="{0DCE4930-FD5D-7FC2-8FE0-7B3D431F39D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290824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Conector recto 79">
                  <a:extLst>
                    <a:ext uri="{FF2B5EF4-FFF2-40B4-BE49-F238E27FC236}">
                      <a16:creationId xmlns:a16="http://schemas.microsoft.com/office/drawing/2014/main" id="{3B3917B4-71A0-99C6-CFD7-6A1AE326C79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145640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1" name="CuadroTexto 80">
                  <a:extLst>
                    <a:ext uri="{FF2B5EF4-FFF2-40B4-BE49-F238E27FC236}">
                      <a16:creationId xmlns:a16="http://schemas.microsoft.com/office/drawing/2014/main" id="{7FDC6D98-3D0E-DB06-C957-1E6ADC125E3F}"/>
                    </a:ext>
                  </a:extLst>
                </p:cNvPr>
                <p:cNvSpPr txBox="1"/>
                <p:nvPr/>
              </p:nvSpPr>
              <p:spPr>
                <a:xfrm>
                  <a:off x="462484" y="3578855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CuadroTexto 81">
                  <a:extLst>
                    <a:ext uri="{FF2B5EF4-FFF2-40B4-BE49-F238E27FC236}">
                      <a16:creationId xmlns:a16="http://schemas.microsoft.com/office/drawing/2014/main" id="{3C4449E9-FEF8-FCB8-74D6-299B665DAD77}"/>
                    </a:ext>
                  </a:extLst>
                </p:cNvPr>
                <p:cNvSpPr txBox="1"/>
                <p:nvPr/>
              </p:nvSpPr>
              <p:spPr>
                <a:xfrm>
                  <a:off x="462484" y="3724060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CuadroTexto 82">
                  <a:extLst>
                    <a:ext uri="{FF2B5EF4-FFF2-40B4-BE49-F238E27FC236}">
                      <a16:creationId xmlns:a16="http://schemas.microsoft.com/office/drawing/2014/main" id="{2CA0B1EF-75F3-B758-F0A8-A779B734A7A7}"/>
                    </a:ext>
                  </a:extLst>
                </p:cNvPr>
                <p:cNvSpPr txBox="1"/>
                <p:nvPr/>
              </p:nvSpPr>
              <p:spPr>
                <a:xfrm>
                  <a:off x="462484" y="3433647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CuadroTexto 83">
                  <a:extLst>
                    <a:ext uri="{FF2B5EF4-FFF2-40B4-BE49-F238E27FC236}">
                      <a16:creationId xmlns:a16="http://schemas.microsoft.com/office/drawing/2014/main" id="{D4201011-87C9-6D19-DB9B-CD3B4532781A}"/>
                    </a:ext>
                  </a:extLst>
                </p:cNvPr>
                <p:cNvSpPr txBox="1"/>
                <p:nvPr/>
              </p:nvSpPr>
              <p:spPr>
                <a:xfrm>
                  <a:off x="462484" y="3288439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3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CuadroTexto 84">
                  <a:extLst>
                    <a:ext uri="{FF2B5EF4-FFF2-40B4-BE49-F238E27FC236}">
                      <a16:creationId xmlns:a16="http://schemas.microsoft.com/office/drawing/2014/main" id="{94A350B8-ECC2-343B-C41D-4851C55991FB}"/>
                    </a:ext>
                  </a:extLst>
                </p:cNvPr>
                <p:cNvSpPr txBox="1"/>
                <p:nvPr/>
              </p:nvSpPr>
              <p:spPr>
                <a:xfrm>
                  <a:off x="462484" y="3143231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CuadroTexto 85">
                  <a:extLst>
                    <a:ext uri="{FF2B5EF4-FFF2-40B4-BE49-F238E27FC236}">
                      <a16:creationId xmlns:a16="http://schemas.microsoft.com/office/drawing/2014/main" id="{271CB6F2-B578-87C2-CD9F-D8D223251122}"/>
                    </a:ext>
                  </a:extLst>
                </p:cNvPr>
                <p:cNvSpPr txBox="1"/>
                <p:nvPr/>
              </p:nvSpPr>
              <p:spPr>
                <a:xfrm>
                  <a:off x="462484" y="2852815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CuadroTexto 86">
                  <a:extLst>
                    <a:ext uri="{FF2B5EF4-FFF2-40B4-BE49-F238E27FC236}">
                      <a16:creationId xmlns:a16="http://schemas.microsoft.com/office/drawing/2014/main" id="{BA0FDE94-81DA-DFB8-372B-284C62EFBC94}"/>
                    </a:ext>
                  </a:extLst>
                </p:cNvPr>
                <p:cNvSpPr txBox="1"/>
                <p:nvPr/>
              </p:nvSpPr>
              <p:spPr>
                <a:xfrm>
                  <a:off x="462484" y="2998023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5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CuadroTexto 87">
                  <a:extLst>
                    <a:ext uri="{FF2B5EF4-FFF2-40B4-BE49-F238E27FC236}">
                      <a16:creationId xmlns:a16="http://schemas.microsoft.com/office/drawing/2014/main" id="{41739D7F-1CC0-50D4-BC91-8B92C35047A0}"/>
                    </a:ext>
                  </a:extLst>
                </p:cNvPr>
                <p:cNvSpPr txBox="1"/>
                <p:nvPr/>
              </p:nvSpPr>
              <p:spPr>
                <a:xfrm>
                  <a:off x="462484" y="2707607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7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CuadroTexto 88">
                  <a:extLst>
                    <a:ext uri="{FF2B5EF4-FFF2-40B4-BE49-F238E27FC236}">
                      <a16:creationId xmlns:a16="http://schemas.microsoft.com/office/drawing/2014/main" id="{E1499AAE-7A88-40E7-2E85-D754C3E54C4B}"/>
                    </a:ext>
                  </a:extLst>
                </p:cNvPr>
                <p:cNvSpPr txBox="1"/>
                <p:nvPr/>
              </p:nvSpPr>
              <p:spPr>
                <a:xfrm>
                  <a:off x="462484" y="2562399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8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CuadroTexto 89">
                  <a:extLst>
                    <a:ext uri="{FF2B5EF4-FFF2-40B4-BE49-F238E27FC236}">
                      <a16:creationId xmlns:a16="http://schemas.microsoft.com/office/drawing/2014/main" id="{8DB6CBEF-094D-CA8E-8C15-DD6C756F3C36}"/>
                    </a:ext>
                  </a:extLst>
                </p:cNvPr>
                <p:cNvSpPr txBox="1"/>
                <p:nvPr/>
              </p:nvSpPr>
              <p:spPr>
                <a:xfrm>
                  <a:off x="408242" y="2271983"/>
                  <a:ext cx="323404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0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CuadroTexto 90">
                  <a:extLst>
                    <a:ext uri="{FF2B5EF4-FFF2-40B4-BE49-F238E27FC236}">
                      <a16:creationId xmlns:a16="http://schemas.microsoft.com/office/drawing/2014/main" id="{AF1280F8-B5C7-5320-01A9-ECAFF71C0151}"/>
                    </a:ext>
                  </a:extLst>
                </p:cNvPr>
                <p:cNvSpPr txBox="1"/>
                <p:nvPr/>
              </p:nvSpPr>
              <p:spPr>
                <a:xfrm>
                  <a:off x="466769" y="2417191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9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CuadroTexto 91">
                  <a:extLst>
                    <a:ext uri="{FF2B5EF4-FFF2-40B4-BE49-F238E27FC236}">
                      <a16:creationId xmlns:a16="http://schemas.microsoft.com/office/drawing/2014/main" id="{8B411D2B-1938-38D8-9659-F1E11B660F4A}"/>
                    </a:ext>
                  </a:extLst>
                </p:cNvPr>
                <p:cNvSpPr txBox="1"/>
                <p:nvPr/>
              </p:nvSpPr>
              <p:spPr>
                <a:xfrm>
                  <a:off x="404777" y="2126775"/>
                  <a:ext cx="323404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1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CuadroTexto 92">
                  <a:extLst>
                    <a:ext uri="{FF2B5EF4-FFF2-40B4-BE49-F238E27FC236}">
                      <a16:creationId xmlns:a16="http://schemas.microsoft.com/office/drawing/2014/main" id="{F1687BAC-85C4-03F5-82E7-27FC8F8BF789}"/>
                    </a:ext>
                  </a:extLst>
                </p:cNvPr>
                <p:cNvSpPr txBox="1"/>
                <p:nvPr/>
              </p:nvSpPr>
              <p:spPr>
                <a:xfrm rot="16200000">
                  <a:off x="-435293" y="2904304"/>
                  <a:ext cx="1488888" cy="24740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Puntuación LSR media compuesta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FAED27C0-01E4-CA3E-5363-D4707960E3FB}"/>
                  </a:ext>
                </a:extLst>
              </p:cNvPr>
              <p:cNvSpPr txBox="1"/>
              <p:nvPr/>
            </p:nvSpPr>
            <p:spPr>
              <a:xfrm>
                <a:off x="726513" y="1441163"/>
                <a:ext cx="242284" cy="20066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2</a:t>
                </a:r>
                <a:endParaRPr kumimoji="0" lang="es-ES" sz="1067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2678184F-427F-073A-4846-E1C242D30545}"/>
                </a:ext>
              </a:extLst>
            </p:cNvPr>
            <p:cNvSpPr txBox="1"/>
            <p:nvPr/>
          </p:nvSpPr>
          <p:spPr>
            <a:xfrm>
              <a:off x="3050858" y="4219876"/>
              <a:ext cx="701268" cy="1821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67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ía de visita</a:t>
              </a:r>
              <a:endParaRPr kumimoji="0" lang="es-ES" sz="1067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4" name="Imagen 93">
            <a:extLst>
              <a:ext uri="{FF2B5EF4-FFF2-40B4-BE49-F238E27FC236}">
                <a16:creationId xmlns:a16="http://schemas.microsoft.com/office/drawing/2014/main" id="{2C976F48-23D8-9527-642A-B0B786B144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5452" y="4928278"/>
            <a:ext cx="5700457" cy="1126101"/>
          </a:xfrm>
          <a:prstGeom prst="rect">
            <a:avLst/>
          </a:prstGeom>
        </p:spPr>
      </p:pic>
      <p:sp>
        <p:nvSpPr>
          <p:cNvPr id="95" name="CuadroTexto 94">
            <a:extLst>
              <a:ext uri="{FF2B5EF4-FFF2-40B4-BE49-F238E27FC236}">
                <a16:creationId xmlns:a16="http://schemas.microsoft.com/office/drawing/2014/main" id="{35E7FB67-98D8-D62D-DE8D-A426BB6C2FE0}"/>
              </a:ext>
            </a:extLst>
          </p:cNvPr>
          <p:cNvSpPr txBox="1"/>
          <p:nvPr/>
        </p:nvSpPr>
        <p:spPr>
          <a:xfrm>
            <a:off x="9188416" y="1687390"/>
            <a:ext cx="2786560" cy="9954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67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 pico máximo ocurrió en el </a:t>
            </a:r>
            <a:r>
              <a:rPr kumimoji="0" lang="es-ES" sz="1467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ía 8</a:t>
            </a:r>
            <a:r>
              <a:rPr kumimoji="0" lang="es-ES" sz="1467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postratamiento) y se resolvieron completamente al mes</a:t>
            </a:r>
            <a:r>
              <a:rPr kumimoji="0" lang="es-ES" sz="1467" b="0" i="0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" sz="1467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  <p:grpSp>
        <p:nvGrpSpPr>
          <p:cNvPr id="96" name="Grupo 95">
            <a:extLst>
              <a:ext uri="{FF2B5EF4-FFF2-40B4-BE49-F238E27FC236}">
                <a16:creationId xmlns:a16="http://schemas.microsoft.com/office/drawing/2014/main" id="{059E3E24-785B-D391-F63F-99E9AC7615CB}"/>
              </a:ext>
            </a:extLst>
          </p:cNvPr>
          <p:cNvGrpSpPr/>
          <p:nvPr/>
        </p:nvGrpSpPr>
        <p:grpSpPr>
          <a:xfrm>
            <a:off x="9368463" y="2924071"/>
            <a:ext cx="2563724" cy="2054057"/>
            <a:chOff x="7026347" y="2193052"/>
            <a:chExt cx="1922793" cy="1269979"/>
          </a:xfrm>
        </p:grpSpPr>
        <p:sp>
          <p:nvSpPr>
            <p:cNvPr id="97" name="Rectángulo 96">
              <a:extLst>
                <a:ext uri="{FF2B5EF4-FFF2-40B4-BE49-F238E27FC236}">
                  <a16:creationId xmlns:a16="http://schemas.microsoft.com/office/drawing/2014/main" id="{63D61FE1-7291-1840-1799-F911032A2EC6}"/>
                </a:ext>
              </a:extLst>
            </p:cNvPr>
            <p:cNvSpPr/>
            <p:nvPr/>
          </p:nvSpPr>
          <p:spPr>
            <a:xfrm>
              <a:off x="7026347" y="2193052"/>
              <a:ext cx="1922793" cy="1269979"/>
            </a:xfrm>
            <a:prstGeom prst="rect">
              <a:avLst/>
            </a:prstGeom>
            <a:solidFill>
              <a:srgbClr val="95C7FF">
                <a:alpha val="4117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CuadroTexto 97">
              <a:extLst>
                <a:ext uri="{FF2B5EF4-FFF2-40B4-BE49-F238E27FC236}">
                  <a16:creationId xmlns:a16="http://schemas.microsoft.com/office/drawing/2014/main" id="{52A26199-756A-FEDE-D5ED-521246613869}"/>
                </a:ext>
              </a:extLst>
            </p:cNvPr>
            <p:cNvSpPr txBox="1"/>
            <p:nvPr/>
          </p:nvSpPr>
          <p:spPr>
            <a:xfrm>
              <a:off x="7075985" y="2265171"/>
              <a:ext cx="1823516" cy="11199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67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das las reacciones locales tuvieron una </a:t>
              </a:r>
              <a:r>
                <a:rPr kumimoji="0" lang="es-ES" sz="1467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uración de resolución </a:t>
              </a:r>
              <a:r>
                <a:rPr kumimoji="0" lang="es-ES" sz="1467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medio </a:t>
              </a:r>
              <a:r>
                <a:rPr kumimoji="0" lang="es-ES" sz="1467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10 días</a:t>
              </a:r>
              <a:r>
                <a:rPr kumimoji="0" lang="es-ES" sz="1467" b="0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s-ES" sz="1467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s-ES" sz="1467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 </a:t>
              </a:r>
              <a:r>
                <a:rPr kumimoji="0" lang="es-ES" sz="1467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 resolvieron espontáneamente</a:t>
              </a:r>
              <a:r>
                <a:rPr kumimoji="0" lang="es-ES" sz="1467" b="0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  <a:r>
                <a:rPr kumimoji="0" lang="es-ES" sz="1467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s-ES" sz="1467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 efectos duradero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03531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A4D522-E7E8-5A43-5B6E-E2BB91D6C8D7}"/>
              </a:ext>
            </a:extLst>
          </p:cNvPr>
          <p:cNvSpPr txBox="1">
            <a:spLocks/>
          </p:cNvSpPr>
          <p:nvPr/>
        </p:nvSpPr>
        <p:spPr>
          <a:xfrm>
            <a:off x="1894366" y="6009663"/>
            <a:ext cx="8630105" cy="629188"/>
          </a:xfrm>
        </p:spPr>
        <p:txBody>
          <a:bodyPr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stos datos no se basan en ensayos comparativos.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Valores redondeados al número entero más cercano.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*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oderado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o severo.1 †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ventos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dversos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que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curren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os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emanas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spués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del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tamiento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.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lauvelt A, et al.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 Engl J Med 2021;384:512–20.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.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Jansen MHE, et al. N Engl J Med. 2019;380:935–46;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3. 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olf JE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Jr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, Taylor JR,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sche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E, Kang S.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pical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3.0%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iclofenac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in 2.5%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yalurona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gel in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he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eatment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tinic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keratoses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t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J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rmatol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2001 Nov;40(11):709-13. </a:t>
            </a: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4. 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wanson N, et al.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miquimod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2.5% and 3.75%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r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he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eatment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tinic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keratoses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: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sults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wo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lacebo-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trolled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udies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ily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pplicatio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he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ace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and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alding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calp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r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wo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2-week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ycles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J Am Acad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rmatol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2010 Apr;62(4):582-90.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6" name="Text Placeholder 1">
            <a:extLst>
              <a:ext uri="{FF2B5EF4-FFF2-40B4-BE49-F238E27FC236}">
                <a16:creationId xmlns:a16="http://schemas.microsoft.com/office/drawing/2014/main" id="{54B877FB-7A19-2F38-3AF6-DE97EC8BEACC}"/>
              </a:ext>
            </a:extLst>
          </p:cNvPr>
          <p:cNvSpPr txBox="1">
            <a:spLocks/>
          </p:cNvSpPr>
          <p:nvPr/>
        </p:nvSpPr>
        <p:spPr>
          <a:xfrm>
            <a:off x="497779" y="284460"/>
            <a:ext cx="9577029" cy="851152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2400" b="1" err="1">
                <a:solidFill>
                  <a:srgbClr val="E63D42"/>
                </a:solidFill>
              </a:rPr>
              <a:t>Reacciones</a:t>
            </a:r>
            <a:r>
              <a:rPr lang="en-GB" sz="2400" b="1">
                <a:solidFill>
                  <a:srgbClr val="E63D42"/>
                </a:solidFill>
              </a:rPr>
              <a:t> </a:t>
            </a:r>
            <a:r>
              <a:rPr lang="en-GB" sz="2400" b="1" err="1">
                <a:solidFill>
                  <a:srgbClr val="E63D42"/>
                </a:solidFill>
              </a:rPr>
              <a:t>cutáneas</a:t>
            </a:r>
            <a:r>
              <a:rPr lang="en-GB" sz="2400" b="1">
                <a:solidFill>
                  <a:srgbClr val="E63D42"/>
                </a:solidFill>
              </a:rPr>
              <a:t> locales (LSRs) de </a:t>
            </a:r>
            <a:r>
              <a:rPr lang="en-GB" sz="2400" b="1" err="1">
                <a:solidFill>
                  <a:srgbClr val="E63D42"/>
                </a:solidFill>
              </a:rPr>
              <a:t>los</a:t>
            </a:r>
            <a:r>
              <a:rPr lang="en-GB" sz="2400" b="1">
                <a:solidFill>
                  <a:srgbClr val="E63D42"/>
                </a:solidFill>
              </a:rPr>
              <a:t> </a:t>
            </a:r>
            <a:r>
              <a:rPr lang="en-GB" sz="2400" b="1" err="1">
                <a:solidFill>
                  <a:srgbClr val="E63D42"/>
                </a:solidFill>
              </a:rPr>
              <a:t>distintos</a:t>
            </a:r>
            <a:r>
              <a:rPr lang="en-GB" sz="2400" b="1">
                <a:solidFill>
                  <a:srgbClr val="E63D42"/>
                </a:solidFill>
              </a:rPr>
              <a:t> </a:t>
            </a:r>
            <a:r>
              <a:rPr lang="en-GB" sz="2400" b="1" err="1">
                <a:solidFill>
                  <a:srgbClr val="E63D42"/>
                </a:solidFill>
              </a:rPr>
              <a:t>tratamientos</a:t>
            </a:r>
            <a:r>
              <a:rPr lang="en-GB" sz="2400" b="1">
                <a:solidFill>
                  <a:srgbClr val="E63D42"/>
                </a:solidFill>
              </a:rPr>
              <a:t> para QA</a:t>
            </a:r>
            <a:endParaRPr lang="en-US" sz="2400" b="1">
              <a:solidFill>
                <a:srgbClr val="E63D42"/>
              </a:solidFill>
            </a:endParaRPr>
          </a:p>
        </p:txBody>
      </p:sp>
      <p:grpSp>
        <p:nvGrpSpPr>
          <p:cNvPr id="125" name="Grupo 124">
            <a:extLst>
              <a:ext uri="{FF2B5EF4-FFF2-40B4-BE49-F238E27FC236}">
                <a16:creationId xmlns:a16="http://schemas.microsoft.com/office/drawing/2014/main" id="{5C8DD770-ABD5-3309-2C60-9FE0D3F100EB}"/>
              </a:ext>
            </a:extLst>
          </p:cNvPr>
          <p:cNvGrpSpPr/>
          <p:nvPr/>
        </p:nvGrpSpPr>
        <p:grpSpPr>
          <a:xfrm>
            <a:off x="378010" y="1397402"/>
            <a:ext cx="4908975" cy="4633101"/>
            <a:chOff x="378010" y="1397402"/>
            <a:chExt cx="4908975" cy="4633101"/>
          </a:xfrm>
        </p:grpSpPr>
        <p:cxnSp>
          <p:nvCxnSpPr>
            <p:cNvPr id="6" name="Straight Arrow Connector 230">
              <a:extLst>
                <a:ext uri="{FF2B5EF4-FFF2-40B4-BE49-F238E27FC236}">
                  <a16:creationId xmlns:a16="http://schemas.microsoft.com/office/drawing/2014/main" id="{7B2702FC-B999-B0B2-A6C4-469FC160BB1B}"/>
                </a:ext>
              </a:extLst>
            </p:cNvPr>
            <p:cNvCxnSpPr>
              <a:cxnSpLocks/>
            </p:cNvCxnSpPr>
            <p:nvPr/>
          </p:nvCxnSpPr>
          <p:spPr>
            <a:xfrm>
              <a:off x="1084718" y="6030503"/>
              <a:ext cx="2564686" cy="0"/>
            </a:xfrm>
            <a:prstGeom prst="straightConnector1">
              <a:avLst/>
            </a:prstGeom>
            <a:ln w="12700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Rectángulo 10">
              <a:extLst>
                <a:ext uri="{FF2B5EF4-FFF2-40B4-BE49-F238E27FC236}">
                  <a16:creationId xmlns:a16="http://schemas.microsoft.com/office/drawing/2014/main" id="{A2E83375-5A57-46EA-9ED7-3C2FB40FA092}"/>
                </a:ext>
              </a:extLst>
            </p:cNvPr>
            <p:cNvSpPr/>
            <p:nvPr/>
          </p:nvSpPr>
          <p:spPr>
            <a:xfrm>
              <a:off x="2181997" y="1406715"/>
              <a:ext cx="1051521" cy="4492332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Rectángulo 11">
              <a:extLst>
                <a:ext uri="{FF2B5EF4-FFF2-40B4-BE49-F238E27FC236}">
                  <a16:creationId xmlns:a16="http://schemas.microsoft.com/office/drawing/2014/main" id="{556CD581-D655-2ABD-6215-CCDFF701B1AE}"/>
                </a:ext>
              </a:extLst>
            </p:cNvPr>
            <p:cNvSpPr/>
            <p:nvPr/>
          </p:nvSpPr>
          <p:spPr>
            <a:xfrm>
              <a:off x="2181997" y="1410232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olor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9" name="Graphic 10" descr="Lightning bolt with solid fill">
              <a:extLst>
                <a:ext uri="{FF2B5EF4-FFF2-40B4-BE49-F238E27FC236}">
                  <a16:creationId xmlns:a16="http://schemas.microsoft.com/office/drawing/2014/main" id="{7DAD8B20-4784-3029-DD55-EFC16A65C3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488112" y="1527286"/>
              <a:ext cx="437295" cy="415763"/>
            </a:xfrm>
            <a:prstGeom prst="rect">
              <a:avLst/>
            </a:prstGeom>
          </p:spPr>
        </p:pic>
        <p:sp>
          <p:nvSpPr>
            <p:cNvPr id="10" name="Rectángulo 10">
              <a:extLst>
                <a:ext uri="{FF2B5EF4-FFF2-40B4-BE49-F238E27FC236}">
                  <a16:creationId xmlns:a16="http://schemas.microsoft.com/office/drawing/2014/main" id="{EFF5F504-30F1-52AC-B532-6C0D73FB6A3C}"/>
                </a:ext>
              </a:extLst>
            </p:cNvPr>
            <p:cNvSpPr/>
            <p:nvPr/>
          </p:nvSpPr>
          <p:spPr>
            <a:xfrm>
              <a:off x="4235464" y="1413685"/>
              <a:ext cx="1051521" cy="4476884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Rectángulo 11">
              <a:extLst>
                <a:ext uri="{FF2B5EF4-FFF2-40B4-BE49-F238E27FC236}">
                  <a16:creationId xmlns:a16="http://schemas.microsoft.com/office/drawing/2014/main" id="{96FC3ADC-E731-21E2-C6CC-66BC7D905441}"/>
                </a:ext>
              </a:extLst>
            </p:cNvPr>
            <p:cNvSpPr/>
            <p:nvPr/>
          </p:nvSpPr>
          <p:spPr>
            <a:xfrm>
              <a:off x="4299996" y="1417202"/>
              <a:ext cx="97327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endParaRPr kumimoji="0" lang="en-GB" sz="11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uemadura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12" name="Graphic 26" descr="Fire outline">
              <a:extLst>
                <a:ext uri="{FF2B5EF4-FFF2-40B4-BE49-F238E27FC236}">
                  <a16:creationId xmlns:a16="http://schemas.microsoft.com/office/drawing/2014/main" id="{FB9FB929-D9E5-C107-8DB0-4A03423C15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637738" y="1575896"/>
              <a:ext cx="331004" cy="314705"/>
            </a:xfrm>
            <a:prstGeom prst="rect">
              <a:avLst/>
            </a:prstGeom>
          </p:spPr>
        </p:pic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6F55C2CA-AE00-CC8D-6A9C-1EC9A9E93CA5}"/>
                </a:ext>
              </a:extLst>
            </p:cNvPr>
            <p:cNvSpPr txBox="1"/>
            <p:nvPr/>
          </p:nvSpPr>
          <p:spPr>
            <a:xfrm>
              <a:off x="426462" y="2933308"/>
              <a:ext cx="1775504" cy="523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5-FU</a:t>
              </a:r>
              <a:r>
                <a:rPr kumimoji="0" lang="es-ES" sz="1400" b="1" i="0" u="none" strike="noStrike" kern="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4" name="Rectangle: Top Corners Rounded 5">
              <a:extLst>
                <a:ext uri="{FF2B5EF4-FFF2-40B4-BE49-F238E27FC236}">
                  <a16:creationId xmlns:a16="http://schemas.microsoft.com/office/drawing/2014/main" id="{87B36F0B-428D-6D03-5D2E-CF974D02B1AD}"/>
                </a:ext>
              </a:extLst>
            </p:cNvPr>
            <p:cNvSpPr/>
            <p:nvPr/>
          </p:nvSpPr>
          <p:spPr>
            <a:xfrm rot="16200000">
              <a:off x="162341" y="3150392"/>
              <a:ext cx="523928" cy="8976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TextBox 7">
              <a:extLst>
                <a:ext uri="{FF2B5EF4-FFF2-40B4-BE49-F238E27FC236}">
                  <a16:creationId xmlns:a16="http://schemas.microsoft.com/office/drawing/2014/main" id="{3F850B78-8A75-2A05-5F0B-3646BCE69FEC}"/>
                </a:ext>
              </a:extLst>
            </p:cNvPr>
            <p:cNvSpPr txBox="1"/>
            <p:nvPr/>
          </p:nvSpPr>
          <p:spPr>
            <a:xfrm>
              <a:off x="426461" y="3510316"/>
              <a:ext cx="1785376" cy="523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Diclofenaco</a:t>
              </a:r>
              <a:r>
                <a:rPr kumimoji="0" lang="en-GB" sz="1400" b="1" i="0" u="none" strike="noStrike" kern="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6" name="Rectangle: Top Corners Rounded 9">
              <a:extLst>
                <a:ext uri="{FF2B5EF4-FFF2-40B4-BE49-F238E27FC236}">
                  <a16:creationId xmlns:a16="http://schemas.microsoft.com/office/drawing/2014/main" id="{10769A3A-5297-D086-3949-4543BA6BF8AC}"/>
                </a:ext>
              </a:extLst>
            </p:cNvPr>
            <p:cNvSpPr/>
            <p:nvPr/>
          </p:nvSpPr>
          <p:spPr>
            <a:xfrm rot="16200000">
              <a:off x="162339" y="3727143"/>
              <a:ext cx="523928" cy="8976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TextBox 13">
              <a:extLst>
                <a:ext uri="{FF2B5EF4-FFF2-40B4-BE49-F238E27FC236}">
                  <a16:creationId xmlns:a16="http://schemas.microsoft.com/office/drawing/2014/main" id="{ED2FAD09-6E43-5477-545E-F0F1AA166385}"/>
                </a:ext>
              </a:extLst>
            </p:cNvPr>
            <p:cNvSpPr txBox="1"/>
            <p:nvPr/>
          </p:nvSpPr>
          <p:spPr>
            <a:xfrm>
              <a:off x="426461" y="4664262"/>
              <a:ext cx="1785376" cy="523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Imiquimod 5%</a:t>
              </a:r>
              <a:r>
                <a:rPr kumimoji="0" lang="en-GB" sz="1400" b="1" i="0" u="none" strike="noStrike" kern="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8" name="Rectangle: Top Corners Rounded 15">
              <a:extLst>
                <a:ext uri="{FF2B5EF4-FFF2-40B4-BE49-F238E27FC236}">
                  <a16:creationId xmlns:a16="http://schemas.microsoft.com/office/drawing/2014/main" id="{B04E39B2-C3E1-795C-B574-8B2802A67261}"/>
                </a:ext>
              </a:extLst>
            </p:cNvPr>
            <p:cNvSpPr/>
            <p:nvPr/>
          </p:nvSpPr>
          <p:spPr>
            <a:xfrm rot="16200000">
              <a:off x="162338" y="4880834"/>
              <a:ext cx="523928" cy="8976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TextBox 19">
              <a:extLst>
                <a:ext uri="{FF2B5EF4-FFF2-40B4-BE49-F238E27FC236}">
                  <a16:creationId xmlns:a16="http://schemas.microsoft.com/office/drawing/2014/main" id="{1CF7ADCB-8D3A-5F34-E315-7CD1C675C6DB}"/>
                </a:ext>
              </a:extLst>
            </p:cNvPr>
            <p:cNvSpPr txBox="1"/>
            <p:nvPr/>
          </p:nvSpPr>
          <p:spPr>
            <a:xfrm>
              <a:off x="426461" y="5241278"/>
              <a:ext cx="1805275" cy="523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Ins="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Terapia</a:t>
              </a: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 fotodinámica</a:t>
              </a:r>
              <a:r>
                <a:rPr kumimoji="0" lang="en-GB" sz="1400" b="1" i="0" u="none" strike="noStrike" kern="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0" name="Rectangle: Top Corners Rounded 21">
              <a:extLst>
                <a:ext uri="{FF2B5EF4-FFF2-40B4-BE49-F238E27FC236}">
                  <a16:creationId xmlns:a16="http://schemas.microsoft.com/office/drawing/2014/main" id="{4C6BC295-A49A-E6C7-4D42-E1DA60CDE198}"/>
                </a:ext>
              </a:extLst>
            </p:cNvPr>
            <p:cNvSpPr/>
            <p:nvPr/>
          </p:nvSpPr>
          <p:spPr>
            <a:xfrm rot="16200000">
              <a:off x="162337" y="5457595"/>
              <a:ext cx="523928" cy="8976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TextBox 77">
              <a:extLst>
                <a:ext uri="{FF2B5EF4-FFF2-40B4-BE49-F238E27FC236}">
                  <a16:creationId xmlns:a16="http://schemas.microsoft.com/office/drawing/2014/main" id="{BC4BDD57-443E-6E91-EDCF-70338873C1C7}"/>
                </a:ext>
              </a:extLst>
            </p:cNvPr>
            <p:cNvSpPr txBox="1"/>
            <p:nvPr/>
          </p:nvSpPr>
          <p:spPr>
            <a:xfrm>
              <a:off x="2142019" y="293330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2%</a:t>
              </a:r>
            </a:p>
          </p:txBody>
        </p:sp>
        <p:sp>
          <p:nvSpPr>
            <p:cNvPr id="22" name="TextBox 96">
              <a:extLst>
                <a:ext uri="{FF2B5EF4-FFF2-40B4-BE49-F238E27FC236}">
                  <a16:creationId xmlns:a16="http://schemas.microsoft.com/office/drawing/2014/main" id="{16EE4D01-2690-D7B5-B791-B8F0F20C5D94}"/>
                </a:ext>
              </a:extLst>
            </p:cNvPr>
            <p:cNvSpPr txBox="1"/>
            <p:nvPr/>
          </p:nvSpPr>
          <p:spPr>
            <a:xfrm>
              <a:off x="2142019" y="351006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</a:p>
          </p:txBody>
        </p:sp>
        <p:sp>
          <p:nvSpPr>
            <p:cNvPr id="23" name="TextBox 97">
              <a:extLst>
                <a:ext uri="{FF2B5EF4-FFF2-40B4-BE49-F238E27FC236}">
                  <a16:creationId xmlns:a16="http://schemas.microsoft.com/office/drawing/2014/main" id="{393BDF5E-3ECE-94E0-5023-948626A682AC}"/>
                </a:ext>
              </a:extLst>
            </p:cNvPr>
            <p:cNvSpPr txBox="1"/>
            <p:nvPr/>
          </p:nvSpPr>
          <p:spPr>
            <a:xfrm>
              <a:off x="2142019" y="4663756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7%</a:t>
              </a:r>
            </a:p>
          </p:txBody>
        </p:sp>
        <p:sp>
          <p:nvSpPr>
            <p:cNvPr id="24" name="TextBox 98">
              <a:extLst>
                <a:ext uri="{FF2B5EF4-FFF2-40B4-BE49-F238E27FC236}">
                  <a16:creationId xmlns:a16="http://schemas.microsoft.com/office/drawing/2014/main" id="{C28D0DF1-D79E-2D10-DFC4-873D750351B7}"/>
                </a:ext>
              </a:extLst>
            </p:cNvPr>
            <p:cNvSpPr txBox="1"/>
            <p:nvPr/>
          </p:nvSpPr>
          <p:spPr>
            <a:xfrm>
              <a:off x="2142019" y="524051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0%</a:t>
              </a:r>
            </a:p>
          </p:txBody>
        </p:sp>
        <p:sp>
          <p:nvSpPr>
            <p:cNvPr id="25" name="TextBox 174">
              <a:extLst>
                <a:ext uri="{FF2B5EF4-FFF2-40B4-BE49-F238E27FC236}">
                  <a16:creationId xmlns:a16="http://schemas.microsoft.com/office/drawing/2014/main" id="{B9EA57D3-67FF-33DE-21DB-14C1DDC71DF0}"/>
                </a:ext>
              </a:extLst>
            </p:cNvPr>
            <p:cNvSpPr txBox="1"/>
            <p:nvPr/>
          </p:nvSpPr>
          <p:spPr>
            <a:xfrm>
              <a:off x="4235464" y="293330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7%</a:t>
              </a:r>
            </a:p>
          </p:txBody>
        </p:sp>
        <p:sp>
          <p:nvSpPr>
            <p:cNvPr id="26" name="TextBox 175">
              <a:extLst>
                <a:ext uri="{FF2B5EF4-FFF2-40B4-BE49-F238E27FC236}">
                  <a16:creationId xmlns:a16="http://schemas.microsoft.com/office/drawing/2014/main" id="{EC70B4C9-CB29-9392-2FE7-CEB1BD07DB2C}"/>
                </a:ext>
              </a:extLst>
            </p:cNvPr>
            <p:cNvSpPr txBox="1"/>
            <p:nvPr/>
          </p:nvSpPr>
          <p:spPr>
            <a:xfrm>
              <a:off x="4235464" y="351006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TextBox 176">
              <a:extLst>
                <a:ext uri="{FF2B5EF4-FFF2-40B4-BE49-F238E27FC236}">
                  <a16:creationId xmlns:a16="http://schemas.microsoft.com/office/drawing/2014/main" id="{03735190-865F-0268-8C25-DF8A04576932}"/>
                </a:ext>
              </a:extLst>
            </p:cNvPr>
            <p:cNvSpPr txBox="1"/>
            <p:nvPr/>
          </p:nvSpPr>
          <p:spPr>
            <a:xfrm>
              <a:off x="4235464" y="4663756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TextBox 177">
              <a:extLst>
                <a:ext uri="{FF2B5EF4-FFF2-40B4-BE49-F238E27FC236}">
                  <a16:creationId xmlns:a16="http://schemas.microsoft.com/office/drawing/2014/main" id="{55CEB236-4C66-B9E5-EF6D-C6A8D5809F64}"/>
                </a:ext>
              </a:extLst>
            </p:cNvPr>
            <p:cNvSpPr txBox="1"/>
            <p:nvPr/>
          </p:nvSpPr>
          <p:spPr>
            <a:xfrm>
              <a:off x="4235464" y="524051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TextBox 30">
              <a:extLst>
                <a:ext uri="{FF2B5EF4-FFF2-40B4-BE49-F238E27FC236}">
                  <a16:creationId xmlns:a16="http://schemas.microsoft.com/office/drawing/2014/main" id="{49008CB9-9A18-D30D-DED0-FA5E41390D9B}"/>
                </a:ext>
              </a:extLst>
            </p:cNvPr>
            <p:cNvSpPr txBox="1"/>
            <p:nvPr/>
          </p:nvSpPr>
          <p:spPr>
            <a:xfrm>
              <a:off x="432022" y="2382324"/>
              <a:ext cx="1756553" cy="523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Tirbanibulina</a:t>
              </a:r>
              <a:r>
                <a:rPr kumimoji="0" lang="en-GB" sz="1400" b="1" i="0" u="none" strike="noStrike" kern="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44" name="Rectangle: Top Corners Rounded 31">
              <a:extLst>
                <a:ext uri="{FF2B5EF4-FFF2-40B4-BE49-F238E27FC236}">
                  <a16:creationId xmlns:a16="http://schemas.microsoft.com/office/drawing/2014/main" id="{1E5AC2C2-672B-C2D7-251C-6BAEBE103E0B}"/>
                </a:ext>
              </a:extLst>
            </p:cNvPr>
            <p:cNvSpPr/>
            <p:nvPr/>
          </p:nvSpPr>
          <p:spPr>
            <a:xfrm rot="16200000">
              <a:off x="167580" y="2592754"/>
              <a:ext cx="523928" cy="10306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TextBox 100">
              <a:extLst>
                <a:ext uri="{FF2B5EF4-FFF2-40B4-BE49-F238E27FC236}">
                  <a16:creationId xmlns:a16="http://schemas.microsoft.com/office/drawing/2014/main" id="{D42642DC-EE8B-DC13-391C-8D8103AAE5AC}"/>
                </a:ext>
              </a:extLst>
            </p:cNvPr>
            <p:cNvSpPr txBox="1"/>
            <p:nvPr/>
          </p:nvSpPr>
          <p:spPr>
            <a:xfrm>
              <a:off x="2140608" y="238232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%</a:t>
              </a:r>
            </a:p>
          </p:txBody>
        </p:sp>
        <p:sp>
          <p:nvSpPr>
            <p:cNvPr id="31" name="TextBox 179">
              <a:extLst>
                <a:ext uri="{FF2B5EF4-FFF2-40B4-BE49-F238E27FC236}">
                  <a16:creationId xmlns:a16="http://schemas.microsoft.com/office/drawing/2014/main" id="{B7FD0474-F2B5-8B2B-BD23-4EEDD1C5A416}"/>
                </a:ext>
              </a:extLst>
            </p:cNvPr>
            <p:cNvSpPr txBox="1"/>
            <p:nvPr/>
          </p:nvSpPr>
          <p:spPr>
            <a:xfrm>
              <a:off x="4234053" y="238232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tángulo 10">
              <a:extLst>
                <a:ext uri="{FF2B5EF4-FFF2-40B4-BE49-F238E27FC236}">
                  <a16:creationId xmlns:a16="http://schemas.microsoft.com/office/drawing/2014/main" id="{139FA99E-7356-1BE0-3698-562AA7E5E700}"/>
                </a:ext>
              </a:extLst>
            </p:cNvPr>
            <p:cNvSpPr/>
            <p:nvPr/>
          </p:nvSpPr>
          <p:spPr>
            <a:xfrm>
              <a:off x="3223646" y="1397402"/>
              <a:ext cx="1051521" cy="4492332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" name="Rectángulo 11">
              <a:extLst>
                <a:ext uri="{FF2B5EF4-FFF2-40B4-BE49-F238E27FC236}">
                  <a16:creationId xmlns:a16="http://schemas.microsoft.com/office/drawing/2014/main" id="{008D4539-DCA0-31A6-9B29-B95B1D4A438D}"/>
                </a:ext>
              </a:extLst>
            </p:cNvPr>
            <p:cNvSpPr/>
            <p:nvPr/>
          </p:nvSpPr>
          <p:spPr>
            <a:xfrm>
              <a:off x="3236336" y="1413686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urito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34" name="Graphic 32">
              <a:extLst>
                <a:ext uri="{FF2B5EF4-FFF2-40B4-BE49-F238E27FC236}">
                  <a16:creationId xmlns:a16="http://schemas.microsoft.com/office/drawing/2014/main" id="{CB863E53-6273-2FBA-4409-10367A4A0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531421" y="1571814"/>
              <a:ext cx="435971" cy="518131"/>
            </a:xfrm>
            <a:prstGeom prst="rect">
              <a:avLst/>
            </a:prstGeom>
          </p:spPr>
        </p:pic>
        <p:sp>
          <p:nvSpPr>
            <p:cNvPr id="35" name="TextBox 33">
              <a:extLst>
                <a:ext uri="{FF2B5EF4-FFF2-40B4-BE49-F238E27FC236}">
                  <a16:creationId xmlns:a16="http://schemas.microsoft.com/office/drawing/2014/main" id="{410AB5E1-100A-2B80-DC39-7FF19557F990}"/>
                </a:ext>
              </a:extLst>
            </p:cNvPr>
            <p:cNvSpPr txBox="1"/>
            <p:nvPr/>
          </p:nvSpPr>
          <p:spPr>
            <a:xfrm>
              <a:off x="3218586" y="237877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9%</a:t>
              </a:r>
            </a:p>
          </p:txBody>
        </p:sp>
        <p:sp>
          <p:nvSpPr>
            <p:cNvPr id="36" name="TextBox 34">
              <a:extLst>
                <a:ext uri="{FF2B5EF4-FFF2-40B4-BE49-F238E27FC236}">
                  <a16:creationId xmlns:a16="http://schemas.microsoft.com/office/drawing/2014/main" id="{AA7C9F04-268F-5F50-2593-E430BDE786EE}"/>
                </a:ext>
              </a:extLst>
            </p:cNvPr>
            <p:cNvSpPr txBox="1"/>
            <p:nvPr/>
          </p:nvSpPr>
          <p:spPr>
            <a:xfrm>
              <a:off x="3192129" y="2909126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2%</a:t>
              </a:r>
            </a:p>
          </p:txBody>
        </p:sp>
        <p:sp>
          <p:nvSpPr>
            <p:cNvPr id="37" name="TextBox 37">
              <a:extLst>
                <a:ext uri="{FF2B5EF4-FFF2-40B4-BE49-F238E27FC236}">
                  <a16:creationId xmlns:a16="http://schemas.microsoft.com/office/drawing/2014/main" id="{DCF5D07D-A895-075F-727E-9A4706ACE3FA}"/>
                </a:ext>
              </a:extLst>
            </p:cNvPr>
            <p:cNvSpPr txBox="1"/>
            <p:nvPr/>
          </p:nvSpPr>
          <p:spPr>
            <a:xfrm>
              <a:off x="3170224" y="351006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5%</a:t>
              </a:r>
            </a:p>
          </p:txBody>
        </p:sp>
        <p:sp>
          <p:nvSpPr>
            <p:cNvPr id="38" name="TextBox 40">
              <a:extLst>
                <a:ext uri="{FF2B5EF4-FFF2-40B4-BE49-F238E27FC236}">
                  <a16:creationId xmlns:a16="http://schemas.microsoft.com/office/drawing/2014/main" id="{06C8D745-D069-9BA8-B635-3BF1544955B0}"/>
                </a:ext>
              </a:extLst>
            </p:cNvPr>
            <p:cNvSpPr txBox="1"/>
            <p:nvPr/>
          </p:nvSpPr>
          <p:spPr>
            <a:xfrm>
              <a:off x="3192129" y="468663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1%</a:t>
              </a:r>
            </a:p>
          </p:txBody>
        </p:sp>
        <p:sp>
          <p:nvSpPr>
            <p:cNvPr id="39" name="TextBox 43">
              <a:extLst>
                <a:ext uri="{FF2B5EF4-FFF2-40B4-BE49-F238E27FC236}">
                  <a16:creationId xmlns:a16="http://schemas.microsoft.com/office/drawing/2014/main" id="{8CA101E1-64CA-65A7-6B7C-89E3F4192EA0}"/>
                </a:ext>
              </a:extLst>
            </p:cNvPr>
            <p:cNvSpPr txBox="1"/>
            <p:nvPr/>
          </p:nvSpPr>
          <p:spPr>
            <a:xfrm>
              <a:off x="3150894" y="524051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8%</a:t>
              </a:r>
              <a:r>
                <a:rPr kumimoji="0" lang="en-US" sz="16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TextBox 63">
              <a:extLst>
                <a:ext uri="{FF2B5EF4-FFF2-40B4-BE49-F238E27FC236}">
                  <a16:creationId xmlns:a16="http://schemas.microsoft.com/office/drawing/2014/main" id="{A9887719-1144-6CFF-B344-2B78F7BAA4A0}"/>
                </a:ext>
              </a:extLst>
            </p:cNvPr>
            <p:cNvSpPr txBox="1"/>
            <p:nvPr/>
          </p:nvSpPr>
          <p:spPr>
            <a:xfrm>
              <a:off x="4175462" y="347844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TextBox 64">
              <a:extLst>
                <a:ext uri="{FF2B5EF4-FFF2-40B4-BE49-F238E27FC236}">
                  <a16:creationId xmlns:a16="http://schemas.microsoft.com/office/drawing/2014/main" id="{A64CC4E2-8DC2-E38E-3643-3228D34ACC42}"/>
                </a:ext>
              </a:extLst>
            </p:cNvPr>
            <p:cNvSpPr txBox="1"/>
            <p:nvPr/>
          </p:nvSpPr>
          <p:spPr>
            <a:xfrm>
              <a:off x="4210482" y="467535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5%</a:t>
              </a:r>
            </a:p>
          </p:txBody>
        </p:sp>
        <p:sp>
          <p:nvSpPr>
            <p:cNvPr id="42" name="TextBox 65">
              <a:extLst>
                <a:ext uri="{FF2B5EF4-FFF2-40B4-BE49-F238E27FC236}">
                  <a16:creationId xmlns:a16="http://schemas.microsoft.com/office/drawing/2014/main" id="{C0A60BB2-8239-29FC-D015-17043F045909}"/>
                </a:ext>
              </a:extLst>
            </p:cNvPr>
            <p:cNvSpPr txBox="1"/>
            <p:nvPr/>
          </p:nvSpPr>
          <p:spPr>
            <a:xfrm>
              <a:off x="4221745" y="524417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6%</a:t>
              </a:r>
            </a:p>
          </p:txBody>
        </p:sp>
        <p:sp>
          <p:nvSpPr>
            <p:cNvPr id="2" name="TextBox 13">
              <a:extLst>
                <a:ext uri="{FF2B5EF4-FFF2-40B4-BE49-F238E27FC236}">
                  <a16:creationId xmlns:a16="http://schemas.microsoft.com/office/drawing/2014/main" id="{333BD6FE-73D9-12EC-63D9-076BDE86D540}"/>
                </a:ext>
              </a:extLst>
            </p:cNvPr>
            <p:cNvSpPr txBox="1"/>
            <p:nvPr/>
          </p:nvSpPr>
          <p:spPr>
            <a:xfrm>
              <a:off x="425050" y="4087486"/>
              <a:ext cx="1753851" cy="523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Imiquimod 3.75%</a:t>
              </a:r>
              <a:r>
                <a:rPr kumimoji="0" lang="en-GB" sz="1400" b="1" i="0" u="none" strike="noStrike" kern="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4</a:t>
              </a:r>
              <a:endParaRPr kumimoji="0" lang="en-GB" sz="1400" b="1" i="0" u="none" strike="noStrike" kern="0" cap="none" spc="0" normalizeH="0" baseline="3000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" name="Rectangle: Top Corners Rounded 15">
              <a:extLst>
                <a:ext uri="{FF2B5EF4-FFF2-40B4-BE49-F238E27FC236}">
                  <a16:creationId xmlns:a16="http://schemas.microsoft.com/office/drawing/2014/main" id="{F39B4EDC-974C-E2B8-AC1A-E69389355B27}"/>
                </a:ext>
              </a:extLst>
            </p:cNvPr>
            <p:cNvSpPr/>
            <p:nvPr/>
          </p:nvSpPr>
          <p:spPr>
            <a:xfrm rot="16200000">
              <a:off x="160928" y="4304058"/>
              <a:ext cx="523928" cy="8976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" name="TextBox 97">
              <a:extLst>
                <a:ext uri="{FF2B5EF4-FFF2-40B4-BE49-F238E27FC236}">
                  <a16:creationId xmlns:a16="http://schemas.microsoft.com/office/drawing/2014/main" id="{6F4D0AF7-B8DC-ABA4-B174-B6814BD1E8CA}"/>
                </a:ext>
              </a:extLst>
            </p:cNvPr>
            <p:cNvSpPr txBox="1"/>
            <p:nvPr/>
          </p:nvSpPr>
          <p:spPr>
            <a:xfrm>
              <a:off x="2140609" y="407609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TextBox 176">
              <a:extLst>
                <a:ext uri="{FF2B5EF4-FFF2-40B4-BE49-F238E27FC236}">
                  <a16:creationId xmlns:a16="http://schemas.microsoft.com/office/drawing/2014/main" id="{0A62F3AF-8362-023F-9D9D-6BB4106A12FB}"/>
                </a:ext>
              </a:extLst>
            </p:cNvPr>
            <p:cNvSpPr txBox="1"/>
            <p:nvPr/>
          </p:nvSpPr>
          <p:spPr>
            <a:xfrm>
              <a:off x="4234054" y="407609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TextBox 40">
              <a:extLst>
                <a:ext uri="{FF2B5EF4-FFF2-40B4-BE49-F238E27FC236}">
                  <a16:creationId xmlns:a16="http://schemas.microsoft.com/office/drawing/2014/main" id="{16DE5C70-7391-241A-170C-27BCBE90B97B}"/>
                </a:ext>
              </a:extLst>
            </p:cNvPr>
            <p:cNvSpPr txBox="1"/>
            <p:nvPr/>
          </p:nvSpPr>
          <p:spPr>
            <a:xfrm>
              <a:off x="3190719" y="4098972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TextBox 64">
              <a:extLst>
                <a:ext uri="{FF2B5EF4-FFF2-40B4-BE49-F238E27FC236}">
                  <a16:creationId xmlns:a16="http://schemas.microsoft.com/office/drawing/2014/main" id="{422F8C7D-EC2F-0A0A-44DF-7CAB1954EE1F}"/>
                </a:ext>
              </a:extLst>
            </p:cNvPr>
            <p:cNvSpPr txBox="1"/>
            <p:nvPr/>
          </p:nvSpPr>
          <p:spPr>
            <a:xfrm>
              <a:off x="4209072" y="4087696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6" name="Grupo 125">
            <a:extLst>
              <a:ext uri="{FF2B5EF4-FFF2-40B4-BE49-F238E27FC236}">
                <a16:creationId xmlns:a16="http://schemas.microsoft.com/office/drawing/2014/main" id="{A0A66D6B-C0DA-902C-E7B4-BA560E9790CA}"/>
              </a:ext>
            </a:extLst>
          </p:cNvPr>
          <p:cNvGrpSpPr/>
          <p:nvPr/>
        </p:nvGrpSpPr>
        <p:grpSpPr>
          <a:xfrm>
            <a:off x="5533691" y="1429862"/>
            <a:ext cx="6507723" cy="4496708"/>
            <a:chOff x="5533691" y="1429862"/>
            <a:chExt cx="6507723" cy="4496708"/>
          </a:xfrm>
        </p:grpSpPr>
        <p:sp>
          <p:nvSpPr>
            <p:cNvPr id="98" name="Rectángulo 10">
              <a:extLst>
                <a:ext uri="{FF2B5EF4-FFF2-40B4-BE49-F238E27FC236}">
                  <a16:creationId xmlns:a16="http://schemas.microsoft.com/office/drawing/2014/main" id="{11BD0FDC-D352-6E48-77CA-3BA9EE9D506D}"/>
                </a:ext>
              </a:extLst>
            </p:cNvPr>
            <p:cNvSpPr/>
            <p:nvPr/>
          </p:nvSpPr>
          <p:spPr>
            <a:xfrm>
              <a:off x="7715041" y="1502425"/>
              <a:ext cx="1051521" cy="4411657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Rectángulo 11">
              <a:extLst>
                <a:ext uri="{FF2B5EF4-FFF2-40B4-BE49-F238E27FC236}">
                  <a16:creationId xmlns:a16="http://schemas.microsoft.com/office/drawing/2014/main" id="{C7A6F7AC-F0F1-C776-3AF4-6A3D4642743A}"/>
                </a:ext>
              </a:extLst>
            </p:cNvPr>
            <p:cNvSpPr/>
            <p:nvPr/>
          </p:nvSpPr>
          <p:spPr>
            <a:xfrm>
              <a:off x="7715041" y="1447186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60960" rtlCol="0" anchor="b" anchorCtr="0"/>
            <a:lstStyle/>
            <a:p>
              <a:pPr marL="0" marR="0" lvl="0" indent="0" algn="ctr" defTabSz="121917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Erosiones /úlceras*</a:t>
              </a:r>
              <a:endParaRPr kumimoji="0" lang="en-US" sz="11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00" name="Graphic 16">
              <a:extLst>
                <a:ext uri="{FF2B5EF4-FFF2-40B4-BE49-F238E27FC236}">
                  <a16:creationId xmlns:a16="http://schemas.microsoft.com/office/drawing/2014/main" id="{416E7137-6274-332E-56F4-B1A24EA70E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t="10000" b="30625"/>
            <a:stretch/>
          </p:blipFill>
          <p:spPr>
            <a:xfrm>
              <a:off x="8011336" y="1470219"/>
              <a:ext cx="458933" cy="323843"/>
            </a:xfrm>
            <a:prstGeom prst="rect">
              <a:avLst/>
            </a:prstGeom>
          </p:spPr>
        </p:pic>
        <p:sp>
          <p:nvSpPr>
            <p:cNvPr id="101" name="TextBox 181">
              <a:extLst>
                <a:ext uri="{FF2B5EF4-FFF2-40B4-BE49-F238E27FC236}">
                  <a16:creationId xmlns:a16="http://schemas.microsoft.com/office/drawing/2014/main" id="{8CDF9882-3D67-1015-D0D4-C66620DB2F64}"/>
                </a:ext>
              </a:extLst>
            </p:cNvPr>
            <p:cNvSpPr txBox="1"/>
            <p:nvPr/>
          </p:nvSpPr>
          <p:spPr>
            <a:xfrm>
              <a:off x="7844940" y="3008902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%</a:t>
              </a:r>
            </a:p>
          </p:txBody>
        </p:sp>
        <p:sp>
          <p:nvSpPr>
            <p:cNvPr id="102" name="TextBox 182">
              <a:extLst>
                <a:ext uri="{FF2B5EF4-FFF2-40B4-BE49-F238E27FC236}">
                  <a16:creationId xmlns:a16="http://schemas.microsoft.com/office/drawing/2014/main" id="{05C84921-2902-6A00-8F85-2083E20E5420}"/>
                </a:ext>
              </a:extLst>
            </p:cNvPr>
            <p:cNvSpPr txBox="1"/>
            <p:nvPr/>
          </p:nvSpPr>
          <p:spPr>
            <a:xfrm>
              <a:off x="7844940" y="3585657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%</a:t>
              </a:r>
            </a:p>
          </p:txBody>
        </p:sp>
        <p:sp>
          <p:nvSpPr>
            <p:cNvPr id="103" name="TextBox 183">
              <a:extLst>
                <a:ext uri="{FF2B5EF4-FFF2-40B4-BE49-F238E27FC236}">
                  <a16:creationId xmlns:a16="http://schemas.microsoft.com/office/drawing/2014/main" id="{BAAFF2F6-ADED-DA9A-1418-CA4F3978E487}"/>
                </a:ext>
              </a:extLst>
            </p:cNvPr>
            <p:cNvSpPr txBox="1"/>
            <p:nvPr/>
          </p:nvSpPr>
          <p:spPr>
            <a:xfrm>
              <a:off x="7844940" y="473935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8%</a:t>
              </a:r>
            </a:p>
          </p:txBody>
        </p:sp>
        <p:sp>
          <p:nvSpPr>
            <p:cNvPr id="104" name="TextBox 184">
              <a:extLst>
                <a:ext uri="{FF2B5EF4-FFF2-40B4-BE49-F238E27FC236}">
                  <a16:creationId xmlns:a16="http://schemas.microsoft.com/office/drawing/2014/main" id="{6911BA89-098E-8D00-8959-FFBF45AAC535}"/>
                </a:ext>
              </a:extLst>
            </p:cNvPr>
            <p:cNvSpPr txBox="1"/>
            <p:nvPr/>
          </p:nvSpPr>
          <p:spPr>
            <a:xfrm>
              <a:off x="7820952" y="529864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6%</a:t>
              </a:r>
              <a:r>
                <a:rPr kumimoji="0" lang="en-US" sz="16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TextBox 186">
              <a:extLst>
                <a:ext uri="{FF2B5EF4-FFF2-40B4-BE49-F238E27FC236}">
                  <a16:creationId xmlns:a16="http://schemas.microsoft.com/office/drawing/2014/main" id="{04CFC85B-76FB-2A95-6560-8FC6B5389D43}"/>
                </a:ext>
              </a:extLst>
            </p:cNvPr>
            <p:cNvSpPr txBox="1"/>
            <p:nvPr/>
          </p:nvSpPr>
          <p:spPr>
            <a:xfrm>
              <a:off x="7820953" y="245791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%</a:t>
              </a:r>
            </a:p>
          </p:txBody>
        </p:sp>
        <p:sp>
          <p:nvSpPr>
            <p:cNvPr id="90" name="Rectángulo 10">
              <a:extLst>
                <a:ext uri="{FF2B5EF4-FFF2-40B4-BE49-F238E27FC236}">
                  <a16:creationId xmlns:a16="http://schemas.microsoft.com/office/drawing/2014/main" id="{F4E32D4A-E59C-4B32-B57D-37F36FC4A801}"/>
                </a:ext>
              </a:extLst>
            </p:cNvPr>
            <p:cNvSpPr/>
            <p:nvPr/>
          </p:nvSpPr>
          <p:spPr>
            <a:xfrm>
              <a:off x="8778029" y="1505215"/>
              <a:ext cx="1051521" cy="4411657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Rectángulo 11">
              <a:extLst>
                <a:ext uri="{FF2B5EF4-FFF2-40B4-BE49-F238E27FC236}">
                  <a16:creationId xmlns:a16="http://schemas.microsoft.com/office/drawing/2014/main" id="{D1A8E159-C386-F460-CFB4-AAEBDD782455}"/>
                </a:ext>
              </a:extLst>
            </p:cNvPr>
            <p:cNvSpPr/>
            <p:nvPr/>
          </p:nvSpPr>
          <p:spPr>
            <a:xfrm>
              <a:off x="8778029" y="1449976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stras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92" name="Graphic 18">
              <a:extLst>
                <a:ext uri="{FF2B5EF4-FFF2-40B4-BE49-F238E27FC236}">
                  <a16:creationId xmlns:a16="http://schemas.microsoft.com/office/drawing/2014/main" id="{72461711-D9ED-0596-AEAE-6B8C35FED6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b="16250"/>
            <a:stretch/>
          </p:blipFill>
          <p:spPr>
            <a:xfrm>
              <a:off x="9163813" y="1635588"/>
              <a:ext cx="279955" cy="278647"/>
            </a:xfrm>
            <a:prstGeom prst="rect">
              <a:avLst/>
            </a:prstGeom>
          </p:spPr>
        </p:pic>
        <p:sp>
          <p:nvSpPr>
            <p:cNvPr id="93" name="TextBox 188">
              <a:extLst>
                <a:ext uri="{FF2B5EF4-FFF2-40B4-BE49-F238E27FC236}">
                  <a16:creationId xmlns:a16="http://schemas.microsoft.com/office/drawing/2014/main" id="{3ECB73E9-13EE-6CFA-1048-2B221445F4A5}"/>
                </a:ext>
              </a:extLst>
            </p:cNvPr>
            <p:cNvSpPr txBox="1"/>
            <p:nvPr/>
          </p:nvSpPr>
          <p:spPr>
            <a:xfrm>
              <a:off x="8883304" y="3008239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7%</a:t>
              </a:r>
            </a:p>
          </p:txBody>
        </p:sp>
        <p:sp>
          <p:nvSpPr>
            <p:cNvPr id="94" name="TextBox 189">
              <a:extLst>
                <a:ext uri="{FF2B5EF4-FFF2-40B4-BE49-F238E27FC236}">
                  <a16:creationId xmlns:a16="http://schemas.microsoft.com/office/drawing/2014/main" id="{FEE042FF-1697-AA22-5331-5E158E186559}"/>
                </a:ext>
              </a:extLst>
            </p:cNvPr>
            <p:cNvSpPr txBox="1"/>
            <p:nvPr/>
          </p:nvSpPr>
          <p:spPr>
            <a:xfrm>
              <a:off x="8883304" y="358499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%</a:t>
              </a:r>
            </a:p>
          </p:txBody>
        </p:sp>
        <p:sp>
          <p:nvSpPr>
            <p:cNvPr id="95" name="TextBox 190">
              <a:extLst>
                <a:ext uri="{FF2B5EF4-FFF2-40B4-BE49-F238E27FC236}">
                  <a16:creationId xmlns:a16="http://schemas.microsoft.com/office/drawing/2014/main" id="{5AFF6432-D2C6-EE65-A427-0D636F7C870F}"/>
                </a:ext>
              </a:extLst>
            </p:cNvPr>
            <p:cNvSpPr txBox="1"/>
            <p:nvPr/>
          </p:nvSpPr>
          <p:spPr>
            <a:xfrm>
              <a:off x="8883304" y="4738687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9%</a:t>
              </a:r>
            </a:p>
          </p:txBody>
        </p:sp>
        <p:sp>
          <p:nvSpPr>
            <p:cNvPr id="96" name="TextBox 191">
              <a:extLst>
                <a:ext uri="{FF2B5EF4-FFF2-40B4-BE49-F238E27FC236}">
                  <a16:creationId xmlns:a16="http://schemas.microsoft.com/office/drawing/2014/main" id="{701A4342-1EAC-89BC-447B-B45B9868A7C1}"/>
                </a:ext>
              </a:extLst>
            </p:cNvPr>
            <p:cNvSpPr txBox="1"/>
            <p:nvPr/>
          </p:nvSpPr>
          <p:spPr>
            <a:xfrm>
              <a:off x="8835725" y="5308342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2%</a:t>
              </a:r>
              <a:r>
                <a:rPr kumimoji="0" lang="en-US" sz="16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TextBox 193">
              <a:extLst>
                <a:ext uri="{FF2B5EF4-FFF2-40B4-BE49-F238E27FC236}">
                  <a16:creationId xmlns:a16="http://schemas.microsoft.com/office/drawing/2014/main" id="{57CF8E12-5B2D-E1D8-C251-66B0992A5746}"/>
                </a:ext>
              </a:extLst>
            </p:cNvPr>
            <p:cNvSpPr txBox="1"/>
            <p:nvPr/>
          </p:nvSpPr>
          <p:spPr>
            <a:xfrm>
              <a:off x="8859317" y="245725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6%</a:t>
              </a:r>
            </a:p>
          </p:txBody>
        </p:sp>
        <p:sp>
          <p:nvSpPr>
            <p:cNvPr id="82" name="Rectángulo 10">
              <a:extLst>
                <a:ext uri="{FF2B5EF4-FFF2-40B4-BE49-F238E27FC236}">
                  <a16:creationId xmlns:a16="http://schemas.microsoft.com/office/drawing/2014/main" id="{5BDCA740-60FB-1CA7-16F1-7834550612B3}"/>
                </a:ext>
              </a:extLst>
            </p:cNvPr>
            <p:cNvSpPr/>
            <p:nvPr/>
          </p:nvSpPr>
          <p:spPr>
            <a:xfrm>
              <a:off x="9835113" y="1514913"/>
              <a:ext cx="1051521" cy="4411657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" name="Rectángulo 11">
              <a:extLst>
                <a:ext uri="{FF2B5EF4-FFF2-40B4-BE49-F238E27FC236}">
                  <a16:creationId xmlns:a16="http://schemas.microsoft.com/office/drawing/2014/main" id="{553AAB56-CECC-A24E-DE18-0F5B1BFF8304}"/>
                </a:ext>
              </a:extLst>
            </p:cNvPr>
            <p:cNvSpPr/>
            <p:nvPr/>
          </p:nvSpPr>
          <p:spPr>
            <a:xfrm>
              <a:off x="9835113" y="1459674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mpollas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84" name="Graphic 20">
              <a:extLst>
                <a:ext uri="{FF2B5EF4-FFF2-40B4-BE49-F238E27FC236}">
                  <a16:creationId xmlns:a16="http://schemas.microsoft.com/office/drawing/2014/main" id="{74C707EC-A034-5A47-58CB-60721A74C1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 r="3125" b="20625"/>
            <a:stretch/>
          </p:blipFill>
          <p:spPr>
            <a:xfrm rot="5400000">
              <a:off x="10185088" y="1595245"/>
              <a:ext cx="351575" cy="378729"/>
            </a:xfrm>
            <a:prstGeom prst="rect">
              <a:avLst/>
            </a:prstGeom>
          </p:spPr>
        </p:pic>
        <p:sp>
          <p:nvSpPr>
            <p:cNvPr id="85" name="TextBox 195">
              <a:extLst>
                <a:ext uri="{FF2B5EF4-FFF2-40B4-BE49-F238E27FC236}">
                  <a16:creationId xmlns:a16="http://schemas.microsoft.com/office/drawing/2014/main" id="{DC6470CF-4CD3-3B84-0245-503183C6A784}"/>
                </a:ext>
              </a:extLst>
            </p:cNvPr>
            <p:cNvSpPr txBox="1"/>
            <p:nvPr/>
          </p:nvSpPr>
          <p:spPr>
            <a:xfrm>
              <a:off x="9939380" y="3017937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4%</a:t>
              </a:r>
            </a:p>
          </p:txBody>
        </p:sp>
        <p:sp>
          <p:nvSpPr>
            <p:cNvPr id="86" name="TextBox 196">
              <a:extLst>
                <a:ext uri="{FF2B5EF4-FFF2-40B4-BE49-F238E27FC236}">
                  <a16:creationId xmlns:a16="http://schemas.microsoft.com/office/drawing/2014/main" id="{CDEFDB0E-4532-EF8F-F804-48C74542887D}"/>
                </a:ext>
              </a:extLst>
            </p:cNvPr>
            <p:cNvSpPr txBox="1"/>
            <p:nvPr/>
          </p:nvSpPr>
          <p:spPr>
            <a:xfrm>
              <a:off x="9939380" y="3594691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%</a:t>
              </a:r>
            </a:p>
          </p:txBody>
        </p:sp>
        <p:sp>
          <p:nvSpPr>
            <p:cNvPr id="87" name="TextBox 197">
              <a:extLst>
                <a:ext uri="{FF2B5EF4-FFF2-40B4-BE49-F238E27FC236}">
                  <a16:creationId xmlns:a16="http://schemas.microsoft.com/office/drawing/2014/main" id="{11FA64EB-64F3-40D3-F379-7778DB71C083}"/>
                </a:ext>
              </a:extLst>
            </p:cNvPr>
            <p:cNvSpPr txBox="1"/>
            <p:nvPr/>
          </p:nvSpPr>
          <p:spPr>
            <a:xfrm>
              <a:off x="9939380" y="474838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1%</a:t>
              </a:r>
            </a:p>
          </p:txBody>
        </p:sp>
        <p:sp>
          <p:nvSpPr>
            <p:cNvPr id="88" name="TextBox 198">
              <a:extLst>
                <a:ext uri="{FF2B5EF4-FFF2-40B4-BE49-F238E27FC236}">
                  <a16:creationId xmlns:a16="http://schemas.microsoft.com/office/drawing/2014/main" id="{87C3DDA4-4AEE-6BF3-F8F2-9A276647E86E}"/>
                </a:ext>
              </a:extLst>
            </p:cNvPr>
            <p:cNvSpPr txBox="1"/>
            <p:nvPr/>
          </p:nvSpPr>
          <p:spPr>
            <a:xfrm>
              <a:off x="9939380" y="5315002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9%</a:t>
              </a:r>
              <a:r>
                <a:rPr kumimoji="0" lang="en-US" sz="16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TextBox 200">
              <a:extLst>
                <a:ext uri="{FF2B5EF4-FFF2-40B4-BE49-F238E27FC236}">
                  <a16:creationId xmlns:a16="http://schemas.microsoft.com/office/drawing/2014/main" id="{EC9C3767-7FB3-F41A-88A2-45CFB5CA8E7D}"/>
                </a:ext>
              </a:extLst>
            </p:cNvPr>
            <p:cNvSpPr txBox="1"/>
            <p:nvPr/>
          </p:nvSpPr>
          <p:spPr>
            <a:xfrm>
              <a:off x="9915393" y="246695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%</a:t>
              </a:r>
            </a:p>
          </p:txBody>
        </p:sp>
        <p:sp>
          <p:nvSpPr>
            <p:cNvPr id="74" name="Rectángulo 10">
              <a:extLst>
                <a:ext uri="{FF2B5EF4-FFF2-40B4-BE49-F238E27FC236}">
                  <a16:creationId xmlns:a16="http://schemas.microsoft.com/office/drawing/2014/main" id="{64750342-1D71-7B08-92E1-EAA665AFB0CC}"/>
                </a:ext>
              </a:extLst>
            </p:cNvPr>
            <p:cNvSpPr/>
            <p:nvPr/>
          </p:nvSpPr>
          <p:spPr>
            <a:xfrm>
              <a:off x="10886634" y="1509465"/>
              <a:ext cx="1051521" cy="4411657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" name="Rectángulo 11">
              <a:extLst>
                <a:ext uri="{FF2B5EF4-FFF2-40B4-BE49-F238E27FC236}">
                  <a16:creationId xmlns:a16="http://schemas.microsoft.com/office/drawing/2014/main" id="{51B7A625-E7CF-887A-39E5-E010E62DEE85}"/>
                </a:ext>
              </a:extLst>
            </p:cNvPr>
            <p:cNvSpPr/>
            <p:nvPr/>
          </p:nvSpPr>
          <p:spPr>
            <a:xfrm>
              <a:off x="10886634" y="1454226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scamación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76" name="Graphic 22">
              <a:extLst>
                <a:ext uri="{FF2B5EF4-FFF2-40B4-BE49-F238E27FC236}">
                  <a16:creationId xmlns:a16="http://schemas.microsoft.com/office/drawing/2014/main" id="{2BCA9EA0-336F-B5BE-B9AB-995845411F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 t="36964" b="19599"/>
            <a:stretch/>
          </p:blipFill>
          <p:spPr>
            <a:xfrm>
              <a:off x="11178921" y="1657070"/>
              <a:ext cx="473009" cy="244181"/>
            </a:xfrm>
            <a:prstGeom prst="rect">
              <a:avLst/>
            </a:prstGeom>
          </p:spPr>
        </p:pic>
        <p:sp>
          <p:nvSpPr>
            <p:cNvPr id="77" name="TextBox 202">
              <a:extLst>
                <a:ext uri="{FF2B5EF4-FFF2-40B4-BE49-F238E27FC236}">
                  <a16:creationId xmlns:a16="http://schemas.microsoft.com/office/drawing/2014/main" id="{2BA1AEBE-1226-C50D-7EF3-7FEC754FF95E}"/>
                </a:ext>
              </a:extLst>
            </p:cNvPr>
            <p:cNvSpPr txBox="1"/>
            <p:nvPr/>
          </p:nvSpPr>
          <p:spPr>
            <a:xfrm>
              <a:off x="10989893" y="3012489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4%</a:t>
              </a:r>
            </a:p>
          </p:txBody>
        </p:sp>
        <p:sp>
          <p:nvSpPr>
            <p:cNvPr id="78" name="TextBox 203">
              <a:extLst>
                <a:ext uri="{FF2B5EF4-FFF2-40B4-BE49-F238E27FC236}">
                  <a16:creationId xmlns:a16="http://schemas.microsoft.com/office/drawing/2014/main" id="{ADC1064C-AD7E-8C71-9C64-4F6F5EE92911}"/>
                </a:ext>
              </a:extLst>
            </p:cNvPr>
            <p:cNvSpPr txBox="1"/>
            <p:nvPr/>
          </p:nvSpPr>
          <p:spPr>
            <a:xfrm>
              <a:off x="10989893" y="358924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6%</a:t>
              </a:r>
            </a:p>
          </p:txBody>
        </p:sp>
        <p:sp>
          <p:nvSpPr>
            <p:cNvPr id="79" name="TextBox 204">
              <a:extLst>
                <a:ext uri="{FF2B5EF4-FFF2-40B4-BE49-F238E27FC236}">
                  <a16:creationId xmlns:a16="http://schemas.microsoft.com/office/drawing/2014/main" id="{39840897-7E46-3022-CCC7-A439BB4751D1}"/>
                </a:ext>
              </a:extLst>
            </p:cNvPr>
            <p:cNvSpPr txBox="1"/>
            <p:nvPr/>
          </p:nvSpPr>
          <p:spPr>
            <a:xfrm>
              <a:off x="10989893" y="4742937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2%</a:t>
              </a:r>
            </a:p>
          </p:txBody>
        </p:sp>
        <p:sp>
          <p:nvSpPr>
            <p:cNvPr id="80" name="TextBox 205">
              <a:extLst>
                <a:ext uri="{FF2B5EF4-FFF2-40B4-BE49-F238E27FC236}">
                  <a16:creationId xmlns:a16="http://schemas.microsoft.com/office/drawing/2014/main" id="{A14E7441-781F-8BE4-6DBA-42326E84F5BF}"/>
                </a:ext>
              </a:extLst>
            </p:cNvPr>
            <p:cNvSpPr txBox="1"/>
            <p:nvPr/>
          </p:nvSpPr>
          <p:spPr>
            <a:xfrm>
              <a:off x="10978473" y="531390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%</a:t>
              </a:r>
              <a:r>
                <a:rPr kumimoji="0" lang="en-US" sz="16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TextBox 207">
              <a:extLst>
                <a:ext uri="{FF2B5EF4-FFF2-40B4-BE49-F238E27FC236}">
                  <a16:creationId xmlns:a16="http://schemas.microsoft.com/office/drawing/2014/main" id="{C44F55AC-C1FB-00C3-3647-A561C5C27456}"/>
                </a:ext>
              </a:extLst>
            </p:cNvPr>
            <p:cNvSpPr txBox="1"/>
            <p:nvPr/>
          </p:nvSpPr>
          <p:spPr>
            <a:xfrm>
              <a:off x="10965906" y="246150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6%</a:t>
              </a:r>
            </a:p>
          </p:txBody>
        </p:sp>
        <p:sp>
          <p:nvSpPr>
            <p:cNvPr id="65" name="Rectángulo 10">
              <a:extLst>
                <a:ext uri="{FF2B5EF4-FFF2-40B4-BE49-F238E27FC236}">
                  <a16:creationId xmlns:a16="http://schemas.microsoft.com/office/drawing/2014/main" id="{68FDBC17-AD4A-48C7-9C40-2098AB37C795}"/>
                </a:ext>
              </a:extLst>
            </p:cNvPr>
            <p:cNvSpPr/>
            <p:nvPr/>
          </p:nvSpPr>
          <p:spPr>
            <a:xfrm>
              <a:off x="6615477" y="1493065"/>
              <a:ext cx="1051521" cy="4411657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" name="Rectángulo 11">
              <a:extLst>
                <a:ext uri="{FF2B5EF4-FFF2-40B4-BE49-F238E27FC236}">
                  <a16:creationId xmlns:a16="http://schemas.microsoft.com/office/drawing/2014/main" id="{F9697A8A-AD3D-92EF-D68B-17DF2AC9A429}"/>
                </a:ext>
              </a:extLst>
            </p:cNvPr>
            <p:cNvSpPr/>
            <p:nvPr/>
          </p:nvSpPr>
          <p:spPr>
            <a:xfrm>
              <a:off x="6615477" y="1437826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33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Rectángulo 11">
              <a:extLst>
                <a:ext uri="{FF2B5EF4-FFF2-40B4-BE49-F238E27FC236}">
                  <a16:creationId xmlns:a16="http://schemas.microsoft.com/office/drawing/2014/main" id="{B1BAEB1F-B3A9-4315-25E0-EC34A3AC2E41}"/>
                </a:ext>
              </a:extLst>
            </p:cNvPr>
            <p:cNvSpPr/>
            <p:nvPr/>
          </p:nvSpPr>
          <p:spPr>
            <a:xfrm>
              <a:off x="6648588" y="1442010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inchazón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68" name="Graphic 67">
              <a:extLst>
                <a:ext uri="{FF2B5EF4-FFF2-40B4-BE49-F238E27FC236}">
                  <a16:creationId xmlns:a16="http://schemas.microsoft.com/office/drawing/2014/main" id="{2427BF62-0E14-D6E5-AE13-EE51017473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 r="4667" b="20133"/>
            <a:stretch/>
          </p:blipFill>
          <p:spPr>
            <a:xfrm>
              <a:off x="6984984" y="1578407"/>
              <a:ext cx="378729" cy="377076"/>
            </a:xfrm>
            <a:prstGeom prst="rect">
              <a:avLst/>
            </a:prstGeom>
          </p:spPr>
        </p:pic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A475DBC-8951-14A1-340F-B03506DBEF31}"/>
                </a:ext>
              </a:extLst>
            </p:cNvPr>
            <p:cNvSpPr txBox="1"/>
            <p:nvPr/>
          </p:nvSpPr>
          <p:spPr>
            <a:xfrm>
              <a:off x="6642145" y="241452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%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1983EC1-08B3-94EA-C42C-9523CC5AFFD0}"/>
                </a:ext>
              </a:extLst>
            </p:cNvPr>
            <p:cNvSpPr txBox="1"/>
            <p:nvPr/>
          </p:nvSpPr>
          <p:spPr>
            <a:xfrm>
              <a:off x="6686661" y="299339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%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6B2248A2-2399-B48B-7272-8BA9697B8A4D}"/>
                </a:ext>
              </a:extLst>
            </p:cNvPr>
            <p:cNvSpPr txBox="1"/>
            <p:nvPr/>
          </p:nvSpPr>
          <p:spPr>
            <a:xfrm>
              <a:off x="6584248" y="353545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A35ED4D-DB32-073A-A2ED-F61D55F8B075}"/>
                </a:ext>
              </a:extLst>
            </p:cNvPr>
            <p:cNvSpPr txBox="1"/>
            <p:nvPr/>
          </p:nvSpPr>
          <p:spPr>
            <a:xfrm>
              <a:off x="6588895" y="472285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4%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9A8AAD0-A36B-FEFC-3202-41B2B58B6106}"/>
                </a:ext>
              </a:extLst>
            </p:cNvPr>
            <p:cNvSpPr txBox="1"/>
            <p:nvPr/>
          </p:nvSpPr>
          <p:spPr>
            <a:xfrm>
              <a:off x="6686660" y="530930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5%</a:t>
              </a:r>
              <a:r>
                <a:rPr kumimoji="0" lang="en-US" sz="16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Rectángulo 10">
              <a:extLst>
                <a:ext uri="{FF2B5EF4-FFF2-40B4-BE49-F238E27FC236}">
                  <a16:creationId xmlns:a16="http://schemas.microsoft.com/office/drawing/2014/main" id="{0672F26E-35EF-266E-2B5D-09E53EBE8C94}"/>
                </a:ext>
              </a:extLst>
            </p:cNvPr>
            <p:cNvSpPr/>
            <p:nvPr/>
          </p:nvSpPr>
          <p:spPr>
            <a:xfrm>
              <a:off x="5568212" y="1479978"/>
              <a:ext cx="1051521" cy="4411657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3" name="Rectángulo 11">
              <a:extLst>
                <a:ext uri="{FF2B5EF4-FFF2-40B4-BE49-F238E27FC236}">
                  <a16:creationId xmlns:a16="http://schemas.microsoft.com/office/drawing/2014/main" id="{6A5C5069-B6E8-781D-58D8-B96D21D7E513}"/>
                </a:ext>
              </a:extLst>
            </p:cNvPr>
            <p:cNvSpPr/>
            <p:nvPr/>
          </p:nvSpPr>
          <p:spPr>
            <a:xfrm>
              <a:off x="5545112" y="1429862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ritema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sp>
          <p:nvSpPr>
            <p:cNvPr id="54" name="TextBox 216">
              <a:extLst>
                <a:ext uri="{FF2B5EF4-FFF2-40B4-BE49-F238E27FC236}">
                  <a16:creationId xmlns:a16="http://schemas.microsoft.com/office/drawing/2014/main" id="{4FB07741-C12E-6F02-7C7F-B5833363201D}"/>
                </a:ext>
              </a:extLst>
            </p:cNvPr>
            <p:cNvSpPr txBox="1"/>
            <p:nvPr/>
          </p:nvSpPr>
          <p:spPr>
            <a:xfrm>
              <a:off x="5609453" y="299509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TextBox 217">
              <a:extLst>
                <a:ext uri="{FF2B5EF4-FFF2-40B4-BE49-F238E27FC236}">
                  <a16:creationId xmlns:a16="http://schemas.microsoft.com/office/drawing/2014/main" id="{B9855D77-6937-8716-A4B0-277BECF7C5E9}"/>
                </a:ext>
              </a:extLst>
            </p:cNvPr>
            <p:cNvSpPr txBox="1"/>
            <p:nvPr/>
          </p:nvSpPr>
          <p:spPr>
            <a:xfrm>
              <a:off x="5609453" y="357184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TextBox 218">
              <a:extLst>
                <a:ext uri="{FF2B5EF4-FFF2-40B4-BE49-F238E27FC236}">
                  <a16:creationId xmlns:a16="http://schemas.microsoft.com/office/drawing/2014/main" id="{B77A111D-EA63-4DF8-A3F1-CF09BA1EC606}"/>
                </a:ext>
              </a:extLst>
            </p:cNvPr>
            <p:cNvSpPr txBox="1"/>
            <p:nvPr/>
          </p:nvSpPr>
          <p:spPr>
            <a:xfrm>
              <a:off x="5609453" y="4725542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TextBox 219">
              <a:extLst>
                <a:ext uri="{FF2B5EF4-FFF2-40B4-BE49-F238E27FC236}">
                  <a16:creationId xmlns:a16="http://schemas.microsoft.com/office/drawing/2014/main" id="{60AA171F-CABB-38E0-C153-73A13634D153}"/>
                </a:ext>
              </a:extLst>
            </p:cNvPr>
            <p:cNvSpPr txBox="1"/>
            <p:nvPr/>
          </p:nvSpPr>
          <p:spPr>
            <a:xfrm>
              <a:off x="5609453" y="530229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TextBox 221">
              <a:extLst>
                <a:ext uri="{FF2B5EF4-FFF2-40B4-BE49-F238E27FC236}">
                  <a16:creationId xmlns:a16="http://schemas.microsoft.com/office/drawing/2014/main" id="{95EAEFEC-85FD-6B83-EE56-48358404DDA5}"/>
                </a:ext>
              </a:extLst>
            </p:cNvPr>
            <p:cNvSpPr txBox="1"/>
            <p:nvPr/>
          </p:nvSpPr>
          <p:spPr>
            <a:xfrm>
              <a:off x="5585466" y="244411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9" name="Graphic 78">
              <a:extLst>
                <a:ext uri="{FF2B5EF4-FFF2-40B4-BE49-F238E27FC236}">
                  <a16:creationId xmlns:a16="http://schemas.microsoft.com/office/drawing/2014/main" id="{062D83B9-E887-09FB-1031-3F9C2FBA9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881508" y="1490952"/>
              <a:ext cx="533757" cy="634344"/>
            </a:xfrm>
            <a:prstGeom prst="rect">
              <a:avLst/>
            </a:prstGeom>
          </p:spPr>
        </p:pic>
        <p:sp>
          <p:nvSpPr>
            <p:cNvPr id="60" name="TextBox 84">
              <a:extLst>
                <a:ext uri="{FF2B5EF4-FFF2-40B4-BE49-F238E27FC236}">
                  <a16:creationId xmlns:a16="http://schemas.microsoft.com/office/drawing/2014/main" id="{B20FBE7F-33A0-FCE5-9A83-4266C4C56756}"/>
                </a:ext>
              </a:extLst>
            </p:cNvPr>
            <p:cNvSpPr txBox="1"/>
            <p:nvPr/>
          </p:nvSpPr>
          <p:spPr>
            <a:xfrm>
              <a:off x="5564421" y="241590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9%</a:t>
              </a:r>
            </a:p>
          </p:txBody>
        </p:sp>
        <p:sp>
          <p:nvSpPr>
            <p:cNvPr id="61" name="TextBox 89">
              <a:extLst>
                <a:ext uri="{FF2B5EF4-FFF2-40B4-BE49-F238E27FC236}">
                  <a16:creationId xmlns:a16="http://schemas.microsoft.com/office/drawing/2014/main" id="{7381322F-ABD7-5464-FFE4-30036055638F}"/>
                </a:ext>
              </a:extLst>
            </p:cNvPr>
            <p:cNvSpPr txBox="1"/>
            <p:nvPr/>
          </p:nvSpPr>
          <p:spPr>
            <a:xfrm>
              <a:off x="5555358" y="298042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2%</a:t>
              </a:r>
            </a:p>
          </p:txBody>
        </p:sp>
        <p:sp>
          <p:nvSpPr>
            <p:cNvPr id="62" name="TextBox 90">
              <a:extLst>
                <a:ext uri="{FF2B5EF4-FFF2-40B4-BE49-F238E27FC236}">
                  <a16:creationId xmlns:a16="http://schemas.microsoft.com/office/drawing/2014/main" id="{07EC7315-236D-67EA-798C-7431EA09AFB5}"/>
                </a:ext>
              </a:extLst>
            </p:cNvPr>
            <p:cNvSpPr txBox="1"/>
            <p:nvPr/>
          </p:nvSpPr>
          <p:spPr>
            <a:xfrm>
              <a:off x="5568212" y="3512466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6%</a:t>
              </a:r>
            </a:p>
          </p:txBody>
        </p:sp>
        <p:sp>
          <p:nvSpPr>
            <p:cNvPr id="63" name="TextBox 91">
              <a:extLst>
                <a:ext uri="{FF2B5EF4-FFF2-40B4-BE49-F238E27FC236}">
                  <a16:creationId xmlns:a16="http://schemas.microsoft.com/office/drawing/2014/main" id="{0B71DF5A-5A85-7B5B-2C06-411347CF9B51}"/>
                </a:ext>
              </a:extLst>
            </p:cNvPr>
            <p:cNvSpPr txBox="1"/>
            <p:nvPr/>
          </p:nvSpPr>
          <p:spPr>
            <a:xfrm>
              <a:off x="5535101" y="4672969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3%</a:t>
              </a:r>
            </a:p>
          </p:txBody>
        </p:sp>
        <p:sp>
          <p:nvSpPr>
            <p:cNvPr id="64" name="TextBox 92">
              <a:extLst>
                <a:ext uri="{FF2B5EF4-FFF2-40B4-BE49-F238E27FC236}">
                  <a16:creationId xmlns:a16="http://schemas.microsoft.com/office/drawing/2014/main" id="{C70CB6FE-3E85-1204-8DB1-4B7C12FC6BE0}"/>
                </a:ext>
              </a:extLst>
            </p:cNvPr>
            <p:cNvSpPr txBox="1"/>
            <p:nvPr/>
          </p:nvSpPr>
          <p:spPr>
            <a:xfrm>
              <a:off x="5601322" y="531166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4%</a:t>
              </a:r>
              <a:r>
                <a:rPr kumimoji="0" lang="en-US" sz="16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</a:p>
          </p:txBody>
        </p:sp>
        <p:sp>
          <p:nvSpPr>
            <p:cNvPr id="111" name="TextBox 183">
              <a:extLst>
                <a:ext uri="{FF2B5EF4-FFF2-40B4-BE49-F238E27FC236}">
                  <a16:creationId xmlns:a16="http://schemas.microsoft.com/office/drawing/2014/main" id="{A118C20E-4139-7A49-C9FC-A325905FFF64}"/>
                </a:ext>
              </a:extLst>
            </p:cNvPr>
            <p:cNvSpPr txBox="1"/>
            <p:nvPr/>
          </p:nvSpPr>
          <p:spPr>
            <a:xfrm>
              <a:off x="7843530" y="415168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>
                  <a:solidFill>
                    <a:srgbClr val="002060"/>
                  </a:solidFill>
                  <a:latin typeface="Arial"/>
                </a:rPr>
                <a:t>30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112" name="TextBox 190">
              <a:extLst>
                <a:ext uri="{FF2B5EF4-FFF2-40B4-BE49-F238E27FC236}">
                  <a16:creationId xmlns:a16="http://schemas.microsoft.com/office/drawing/2014/main" id="{812E780D-5C9D-CD05-D24B-7D827529187E}"/>
                </a:ext>
              </a:extLst>
            </p:cNvPr>
            <p:cNvSpPr txBox="1"/>
            <p:nvPr/>
          </p:nvSpPr>
          <p:spPr>
            <a:xfrm>
              <a:off x="8881894" y="415102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>
                  <a:solidFill>
                    <a:srgbClr val="002060"/>
                  </a:solidFill>
                  <a:latin typeface="Arial"/>
                </a:rPr>
                <a:t>35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113" name="TextBox 197">
              <a:extLst>
                <a:ext uri="{FF2B5EF4-FFF2-40B4-BE49-F238E27FC236}">
                  <a16:creationId xmlns:a16="http://schemas.microsoft.com/office/drawing/2014/main" id="{DEC6581E-A9FA-F211-B233-E3E6E5B4A923}"/>
                </a:ext>
              </a:extLst>
            </p:cNvPr>
            <p:cNvSpPr txBox="1"/>
            <p:nvPr/>
          </p:nvSpPr>
          <p:spPr>
            <a:xfrm>
              <a:off x="9937970" y="416072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TextBox 204">
              <a:extLst>
                <a:ext uri="{FF2B5EF4-FFF2-40B4-BE49-F238E27FC236}">
                  <a16:creationId xmlns:a16="http://schemas.microsoft.com/office/drawing/2014/main" id="{DE75E240-D600-2CD7-5016-96CDF7E4372B}"/>
                </a:ext>
              </a:extLst>
            </p:cNvPr>
            <p:cNvSpPr txBox="1"/>
            <p:nvPr/>
          </p:nvSpPr>
          <p:spPr>
            <a:xfrm>
              <a:off x="10988483" y="415527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>
                  <a:solidFill>
                    <a:srgbClr val="002060"/>
                  </a:solidFill>
                  <a:latin typeface="Arial"/>
                </a:rPr>
                <a:t>13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115" name="TextBox 71">
              <a:extLst>
                <a:ext uri="{FF2B5EF4-FFF2-40B4-BE49-F238E27FC236}">
                  <a16:creationId xmlns:a16="http://schemas.microsoft.com/office/drawing/2014/main" id="{0C7D3381-6345-02E6-C016-1B0A0D6022DC}"/>
                </a:ext>
              </a:extLst>
            </p:cNvPr>
            <p:cNvSpPr txBox="1"/>
            <p:nvPr/>
          </p:nvSpPr>
          <p:spPr>
            <a:xfrm>
              <a:off x="6587485" y="4135196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>
                  <a:solidFill>
                    <a:srgbClr val="002060"/>
                  </a:solidFill>
                  <a:latin typeface="Arial"/>
                </a:rPr>
                <a:t>13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116" name="TextBox 218">
              <a:extLst>
                <a:ext uri="{FF2B5EF4-FFF2-40B4-BE49-F238E27FC236}">
                  <a16:creationId xmlns:a16="http://schemas.microsoft.com/office/drawing/2014/main" id="{6A989B1E-1751-5264-97C5-470D9BD11364}"/>
                </a:ext>
              </a:extLst>
            </p:cNvPr>
            <p:cNvSpPr txBox="1"/>
            <p:nvPr/>
          </p:nvSpPr>
          <p:spPr>
            <a:xfrm>
              <a:off x="5608043" y="413788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TextBox 91">
              <a:extLst>
                <a:ext uri="{FF2B5EF4-FFF2-40B4-BE49-F238E27FC236}">
                  <a16:creationId xmlns:a16="http://schemas.microsoft.com/office/drawing/2014/main" id="{106451CB-403A-1BC5-F65C-34AE0B31E0E7}"/>
                </a:ext>
              </a:extLst>
            </p:cNvPr>
            <p:cNvSpPr txBox="1"/>
            <p:nvPr/>
          </p:nvSpPr>
          <p:spPr>
            <a:xfrm>
              <a:off x="5533691" y="4085307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5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53269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TextBox 32">
            <a:extLst>
              <a:ext uri="{FF2B5EF4-FFF2-40B4-BE49-F238E27FC236}">
                <a16:creationId xmlns:a16="http://schemas.microsoft.com/office/drawing/2014/main" id="{D0EA4696-ECBD-CEEA-FFF4-601EDCB67BED}"/>
              </a:ext>
            </a:extLst>
          </p:cNvPr>
          <p:cNvSpPr txBox="1"/>
          <p:nvPr/>
        </p:nvSpPr>
        <p:spPr>
          <a:xfrm>
            <a:off x="1870908" y="6171018"/>
            <a:ext cx="85470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PQ, Expert Panel Questionnaire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</a:t>
            </a:r>
            <a:r>
              <a:rPr kumimoji="0" lang="fr-FR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apted from: 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lesinger, T et al. (2023). SKIN The Journal of </a:t>
            </a:r>
            <a:r>
              <a:rPr kumimoji="0" lang="fr-FR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taneous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ine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 7(3), 771-787.</a:t>
            </a:r>
            <a:r>
              <a:rPr kumimoji="0" lang="da-DK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lesinger T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KIN 2023, 7(6), s262 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laberte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Y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t al.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9" name="Marcador de texto 1">
            <a:extLst>
              <a:ext uri="{FF2B5EF4-FFF2-40B4-BE49-F238E27FC236}">
                <a16:creationId xmlns:a16="http://schemas.microsoft.com/office/drawing/2014/main" id="{94E448A9-118D-D3DF-31AE-F4A22D0C6E8E}"/>
              </a:ext>
            </a:extLst>
          </p:cNvPr>
          <p:cNvSpPr txBox="1">
            <a:spLocks/>
          </p:cNvSpPr>
          <p:nvPr/>
        </p:nvSpPr>
        <p:spPr>
          <a:xfrm>
            <a:off x="188328" y="91542"/>
            <a:ext cx="10229668" cy="385428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defTabSz="914377" fontAlgn="auto"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400">
                <a:latin typeface="+mn-lt"/>
              </a:rPr>
              <a:t>EPQ – </a:t>
            </a:r>
            <a:r>
              <a:rPr lang="en-US" sz="2400" err="1">
                <a:latin typeface="+mn-lt"/>
              </a:rPr>
              <a:t>Satisfacción</a:t>
            </a:r>
            <a:r>
              <a:rPr lang="en-US" sz="2400">
                <a:latin typeface="+mn-lt"/>
              </a:rPr>
              <a:t> de medicos y pacientes</a:t>
            </a:r>
          </a:p>
        </p:txBody>
      </p:sp>
      <p:sp>
        <p:nvSpPr>
          <p:cNvPr id="130" name="CuadroTexto 129">
            <a:extLst>
              <a:ext uri="{FF2B5EF4-FFF2-40B4-BE49-F238E27FC236}">
                <a16:creationId xmlns:a16="http://schemas.microsoft.com/office/drawing/2014/main" id="{77CE4865-8CDB-3EBD-6E36-ECB4224CCE30}"/>
              </a:ext>
            </a:extLst>
          </p:cNvPr>
          <p:cNvSpPr txBox="1"/>
          <p:nvPr/>
        </p:nvSpPr>
        <p:spPr>
          <a:xfrm>
            <a:off x="618227" y="764662"/>
            <a:ext cx="1551251" cy="3077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udio PROAK</a:t>
            </a:r>
            <a:r>
              <a:rPr kumimoji="0" lang="es-ES_tradnl" sz="1400" b="0" i="0" u="none" strike="noStrike" kern="120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s-ES" sz="1400" b="0" i="0" u="none" strike="noStrike" kern="1200" cap="none" spc="0" normalizeH="0" baseline="3000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1" name="CuadroTexto 130">
            <a:extLst>
              <a:ext uri="{FF2B5EF4-FFF2-40B4-BE49-F238E27FC236}">
                <a16:creationId xmlns:a16="http://schemas.microsoft.com/office/drawing/2014/main" id="{27271B3E-29E8-3437-95D8-8EB0590456B2}"/>
              </a:ext>
            </a:extLst>
          </p:cNvPr>
          <p:cNvSpPr txBox="1"/>
          <p:nvPr/>
        </p:nvSpPr>
        <p:spPr>
          <a:xfrm>
            <a:off x="3120604" y="694921"/>
            <a:ext cx="10214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ana 8</a:t>
            </a:r>
          </a:p>
        </p:txBody>
      </p:sp>
      <p:grpSp>
        <p:nvGrpSpPr>
          <p:cNvPr id="132" name="Grupo 131">
            <a:extLst>
              <a:ext uri="{FF2B5EF4-FFF2-40B4-BE49-F238E27FC236}">
                <a16:creationId xmlns:a16="http://schemas.microsoft.com/office/drawing/2014/main" id="{12A8319C-81BB-A3C1-3C8C-5E338D74A794}"/>
              </a:ext>
            </a:extLst>
          </p:cNvPr>
          <p:cNvGrpSpPr/>
          <p:nvPr/>
        </p:nvGrpSpPr>
        <p:grpSpPr>
          <a:xfrm>
            <a:off x="1165159" y="1110582"/>
            <a:ext cx="4202073" cy="1864531"/>
            <a:chOff x="870519" y="1110582"/>
            <a:chExt cx="4202073" cy="1864531"/>
          </a:xfrm>
        </p:grpSpPr>
        <p:grpSp>
          <p:nvGrpSpPr>
            <p:cNvPr id="133" name="Grupo 132">
              <a:extLst>
                <a:ext uri="{FF2B5EF4-FFF2-40B4-BE49-F238E27FC236}">
                  <a16:creationId xmlns:a16="http://schemas.microsoft.com/office/drawing/2014/main" id="{FA5FE0C2-A868-173D-4840-2E7EE00147EE}"/>
                </a:ext>
              </a:extLst>
            </p:cNvPr>
            <p:cNvGrpSpPr/>
            <p:nvPr/>
          </p:nvGrpSpPr>
          <p:grpSpPr>
            <a:xfrm>
              <a:off x="1049744" y="1110582"/>
              <a:ext cx="4022848" cy="1852558"/>
              <a:chOff x="369794" y="1273442"/>
              <a:chExt cx="4071919" cy="2714613"/>
            </a:xfrm>
          </p:grpSpPr>
          <p:graphicFrame>
            <p:nvGraphicFramePr>
              <p:cNvPr id="136" name="Chart 14">
                <a:extLst>
                  <a:ext uri="{FF2B5EF4-FFF2-40B4-BE49-F238E27FC236}">
                    <a16:creationId xmlns:a16="http://schemas.microsoft.com/office/drawing/2014/main" id="{10DAB1BE-3B0B-0E9F-53D7-30D620AB8552}"/>
                  </a:ext>
                </a:extLst>
              </p:cNvPr>
              <p:cNvGraphicFramePr/>
              <p:nvPr/>
            </p:nvGraphicFramePr>
            <p:xfrm>
              <a:off x="369794" y="1273442"/>
              <a:ext cx="4071919" cy="271461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137" name="TextBox 95">
                <a:extLst>
                  <a:ext uri="{FF2B5EF4-FFF2-40B4-BE49-F238E27FC236}">
                    <a16:creationId xmlns:a16="http://schemas.microsoft.com/office/drawing/2014/main" id="{9D2BAEE2-8442-BB35-C595-4F1EB1B12A9B}"/>
                  </a:ext>
                </a:extLst>
              </p:cNvPr>
              <p:cNvSpPr txBox="1"/>
              <p:nvPr/>
            </p:nvSpPr>
            <p:spPr>
              <a:xfrm>
                <a:off x="482479" y="3552745"/>
                <a:ext cx="650893" cy="1931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2004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=290</a:t>
                </a:r>
              </a:p>
            </p:txBody>
          </p:sp>
        </p:grpSp>
        <p:sp>
          <p:nvSpPr>
            <p:cNvPr id="134" name="TextBox 25">
              <a:extLst>
                <a:ext uri="{FF2B5EF4-FFF2-40B4-BE49-F238E27FC236}">
                  <a16:creationId xmlns:a16="http://schemas.microsoft.com/office/drawing/2014/main" id="{6648F530-B80E-BB1A-90CA-59DA8E9E42D8}"/>
                </a:ext>
              </a:extLst>
            </p:cNvPr>
            <p:cNvSpPr txBox="1"/>
            <p:nvPr/>
          </p:nvSpPr>
          <p:spPr>
            <a:xfrm rot="16200000">
              <a:off x="135134" y="1877984"/>
              <a:ext cx="1832514" cy="3617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kumimoji="0" lang="en-US" sz="9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porción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9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cientes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en-US" sz="9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ínicos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 la </a:t>
              </a:r>
              <a:r>
                <a:rPr kumimoji="0" lang="en-US" sz="9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mana</a:t>
              </a: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8</a:t>
              </a:r>
            </a:p>
          </p:txBody>
        </p:sp>
        <p:sp>
          <p:nvSpPr>
            <p:cNvPr id="135" name="Rectángulo 134">
              <a:extLst>
                <a:ext uri="{FF2B5EF4-FFF2-40B4-BE49-F238E27FC236}">
                  <a16:creationId xmlns:a16="http://schemas.microsoft.com/office/drawing/2014/main" id="{2700AFD2-A776-4DDD-0B01-12BA3B922431}"/>
                </a:ext>
              </a:extLst>
            </p:cNvPr>
            <p:cNvSpPr/>
            <p:nvPr/>
          </p:nvSpPr>
          <p:spPr>
            <a:xfrm>
              <a:off x="1723112" y="1309252"/>
              <a:ext cx="1026367" cy="161113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8" name="Grupo 137">
            <a:extLst>
              <a:ext uri="{FF2B5EF4-FFF2-40B4-BE49-F238E27FC236}">
                <a16:creationId xmlns:a16="http://schemas.microsoft.com/office/drawing/2014/main" id="{3F555802-8DB4-F71C-6F15-0224A8FAA4A5}"/>
              </a:ext>
            </a:extLst>
          </p:cNvPr>
          <p:cNvGrpSpPr/>
          <p:nvPr/>
        </p:nvGrpSpPr>
        <p:grpSpPr>
          <a:xfrm>
            <a:off x="689276" y="4294132"/>
            <a:ext cx="5832887" cy="1671332"/>
            <a:chOff x="527273" y="3393131"/>
            <a:chExt cx="5832887" cy="1671332"/>
          </a:xfrm>
        </p:grpSpPr>
        <p:sp>
          <p:nvSpPr>
            <p:cNvPr id="139" name="CuadroTexto 138">
              <a:extLst>
                <a:ext uri="{FF2B5EF4-FFF2-40B4-BE49-F238E27FC236}">
                  <a16:creationId xmlns:a16="http://schemas.microsoft.com/office/drawing/2014/main" id="{436CFA1D-C92A-5648-6FD2-6EB6D884FA5E}"/>
                </a:ext>
              </a:extLst>
            </p:cNvPr>
            <p:cNvSpPr txBox="1"/>
            <p:nvPr/>
          </p:nvSpPr>
          <p:spPr>
            <a:xfrm>
              <a:off x="527273" y="3393131"/>
              <a:ext cx="1693407" cy="307777"/>
            </a:xfrm>
            <a:prstGeom prst="rect">
              <a:avLst/>
            </a:prstGeom>
            <a:solidFill>
              <a:schemeClr val="accent1">
                <a:lumMod val="10000"/>
                <a:lumOff val="9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>
                  <a:ln>
                    <a:noFill/>
                  </a:ln>
                  <a:solidFill>
                    <a:srgbClr val="6F6F6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 TirbaSkin</a:t>
              </a:r>
              <a:r>
                <a:rPr kumimoji="0" lang="es-ES_tradnl" sz="1400" b="0" i="0" u="none" strike="noStrike" kern="1200" cap="none" spc="0" normalizeH="0" baseline="30000" noProof="0">
                  <a:ln>
                    <a:noFill/>
                  </a:ln>
                  <a:solidFill>
                    <a:srgbClr val="6F6F6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  <a:endParaRPr kumimoji="0" lang="es-ES" sz="1400" b="0" i="0" u="none" strike="noStrike" kern="120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40" name="Grupo 139">
              <a:extLst>
                <a:ext uri="{FF2B5EF4-FFF2-40B4-BE49-F238E27FC236}">
                  <a16:creationId xmlns:a16="http://schemas.microsoft.com/office/drawing/2014/main" id="{D42EFF00-E905-2F16-D67A-B3E770D3CA66}"/>
                </a:ext>
              </a:extLst>
            </p:cNvPr>
            <p:cNvGrpSpPr/>
            <p:nvPr/>
          </p:nvGrpSpPr>
          <p:grpSpPr>
            <a:xfrm>
              <a:off x="815126" y="3799385"/>
              <a:ext cx="5545034" cy="1265078"/>
              <a:chOff x="2057710" y="3634721"/>
              <a:chExt cx="7316793" cy="1397622"/>
            </a:xfrm>
          </p:grpSpPr>
          <p:grpSp>
            <p:nvGrpSpPr>
              <p:cNvPr id="141" name="Group 53">
                <a:extLst>
                  <a:ext uri="{FF2B5EF4-FFF2-40B4-BE49-F238E27FC236}">
                    <a16:creationId xmlns:a16="http://schemas.microsoft.com/office/drawing/2014/main" id="{9CF77225-FC22-5927-8647-42DA7B19FF0A}"/>
                  </a:ext>
                </a:extLst>
              </p:cNvPr>
              <p:cNvGrpSpPr/>
              <p:nvPr/>
            </p:nvGrpSpPr>
            <p:grpSpPr>
              <a:xfrm>
                <a:off x="2057710" y="3634721"/>
                <a:ext cx="7316793" cy="1397622"/>
                <a:chOff x="15803298" y="11472821"/>
                <a:chExt cx="13824000" cy="3636000"/>
              </a:xfrm>
            </p:grpSpPr>
            <p:graphicFrame>
              <p:nvGraphicFramePr>
                <p:cNvPr id="143" name="Chart 54">
                  <a:extLst>
                    <a:ext uri="{FF2B5EF4-FFF2-40B4-BE49-F238E27FC236}">
                      <a16:creationId xmlns:a16="http://schemas.microsoft.com/office/drawing/2014/main" id="{2D5FE252-11A7-3BE8-1315-B72223BB09E5}"/>
                    </a:ext>
                  </a:extLst>
                </p:cNvPr>
                <p:cNvGraphicFramePr/>
                <p:nvPr/>
              </p:nvGraphicFramePr>
              <p:xfrm>
                <a:off x="15803298" y="11472821"/>
                <a:ext cx="13824000" cy="3636000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  <p:sp>
              <p:nvSpPr>
                <p:cNvPr id="144" name="TextBox 57">
                  <a:extLst>
                    <a:ext uri="{FF2B5EF4-FFF2-40B4-BE49-F238E27FC236}">
                      <a16:creationId xmlns:a16="http://schemas.microsoft.com/office/drawing/2014/main" id="{20DC274A-B8B7-F8B0-A504-FA5E35E8F825}"/>
                    </a:ext>
                  </a:extLst>
                </p:cNvPr>
                <p:cNvSpPr txBox="1"/>
                <p:nvPr/>
              </p:nvSpPr>
              <p:spPr>
                <a:xfrm>
                  <a:off x="15930633" y="14370672"/>
                  <a:ext cx="1389309" cy="56049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N=205</a:t>
                  </a:r>
                </a:p>
              </p:txBody>
            </p:sp>
          </p:grpSp>
          <p:sp>
            <p:nvSpPr>
              <p:cNvPr id="142" name="Rectángulo 141">
                <a:extLst>
                  <a:ext uri="{FF2B5EF4-FFF2-40B4-BE49-F238E27FC236}">
                    <a16:creationId xmlns:a16="http://schemas.microsoft.com/office/drawing/2014/main" id="{6739E205-7751-D5FA-CAB5-AEF23DE1FC64}"/>
                  </a:ext>
                </a:extLst>
              </p:cNvPr>
              <p:cNvSpPr/>
              <p:nvPr/>
            </p:nvSpPr>
            <p:spPr>
              <a:xfrm>
                <a:off x="2057711" y="3759959"/>
                <a:ext cx="4868233" cy="86360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0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45" name="Grupo 144">
            <a:extLst>
              <a:ext uri="{FF2B5EF4-FFF2-40B4-BE49-F238E27FC236}">
                <a16:creationId xmlns:a16="http://schemas.microsoft.com/office/drawing/2014/main" id="{AB3460A9-F3B7-3E93-9E6D-4EC919F00038}"/>
              </a:ext>
            </a:extLst>
          </p:cNvPr>
          <p:cNvGrpSpPr/>
          <p:nvPr/>
        </p:nvGrpSpPr>
        <p:grpSpPr>
          <a:xfrm>
            <a:off x="689276" y="3251286"/>
            <a:ext cx="4679661" cy="766964"/>
            <a:chOff x="1279705" y="5312345"/>
            <a:chExt cx="4679661" cy="766964"/>
          </a:xfrm>
        </p:grpSpPr>
        <p:sp>
          <p:nvSpPr>
            <p:cNvPr id="146" name="CuadroTexto 145">
              <a:extLst>
                <a:ext uri="{FF2B5EF4-FFF2-40B4-BE49-F238E27FC236}">
                  <a16:creationId xmlns:a16="http://schemas.microsoft.com/office/drawing/2014/main" id="{14DC3CEA-337C-39F5-DDF8-9F81E19083DC}"/>
                </a:ext>
              </a:extLst>
            </p:cNvPr>
            <p:cNvSpPr txBox="1"/>
            <p:nvPr/>
          </p:nvSpPr>
          <p:spPr>
            <a:xfrm>
              <a:off x="2421162" y="5432978"/>
              <a:ext cx="3538204" cy="646331"/>
            </a:xfrm>
            <a:prstGeom prst="rect">
              <a:avLst/>
            </a:prstGeom>
            <a:solidFill>
              <a:srgbClr val="E1F3E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97% de los pacientes </a:t>
              </a:r>
              <a:r>
                <a:rPr kumimoji="0" lang="es-ES_tradnl" sz="12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siderarían </a:t>
              </a:r>
              <a:r>
                <a:rPr kumimoji="0" lang="es-ES_tradnl" sz="12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sar </a:t>
              </a:r>
              <a:r>
                <a:rPr kumimoji="0" lang="es-ES_tradnl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irbanibulina</a:t>
              </a:r>
              <a:r>
                <a:rPr kumimoji="0" lang="es-ES_tradnl" sz="12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nuevo </a:t>
              </a:r>
              <a:r>
                <a:rPr kumimoji="0" lang="es-ES_tradnl" sz="12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ra el tratamiento de lesiones de QA</a:t>
              </a:r>
              <a:endPara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7" name="CuadroTexto 146">
              <a:extLst>
                <a:ext uri="{FF2B5EF4-FFF2-40B4-BE49-F238E27FC236}">
                  <a16:creationId xmlns:a16="http://schemas.microsoft.com/office/drawing/2014/main" id="{C8157E4E-0FCA-E46F-DCEF-6F81C728721F}"/>
                </a:ext>
              </a:extLst>
            </p:cNvPr>
            <p:cNvSpPr txBox="1"/>
            <p:nvPr/>
          </p:nvSpPr>
          <p:spPr>
            <a:xfrm>
              <a:off x="1279705" y="5312345"/>
              <a:ext cx="1287790" cy="307777"/>
            </a:xfrm>
            <a:prstGeom prst="rect">
              <a:avLst/>
            </a:prstGeom>
            <a:solidFill>
              <a:schemeClr val="accent1">
                <a:lumMod val="10000"/>
                <a:lumOff val="9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400" b="0" i="0" u="none" strike="noStrike" kern="1200" cap="none" spc="0" normalizeH="0" baseline="0" noProof="0">
                  <a:ln>
                    <a:noFill/>
                  </a:ln>
                  <a:solidFill>
                    <a:srgbClr val="6F6F6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tudio KLIR</a:t>
              </a:r>
              <a:endPara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8" name="Rectángulo 147">
            <a:extLst>
              <a:ext uri="{FF2B5EF4-FFF2-40B4-BE49-F238E27FC236}">
                <a16:creationId xmlns:a16="http://schemas.microsoft.com/office/drawing/2014/main" id="{BDD0D2E4-1966-85D8-8BD0-1635D45FF54E}"/>
              </a:ext>
            </a:extLst>
          </p:cNvPr>
          <p:cNvSpPr/>
          <p:nvPr/>
        </p:nvSpPr>
        <p:spPr>
          <a:xfrm>
            <a:off x="402771" y="694049"/>
            <a:ext cx="6038669" cy="5361312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9" name="CuadroTexto 148">
            <a:extLst>
              <a:ext uri="{FF2B5EF4-FFF2-40B4-BE49-F238E27FC236}">
                <a16:creationId xmlns:a16="http://schemas.microsoft.com/office/drawing/2014/main" id="{6AAC757D-4B78-D184-FE38-C5AF57A7F47F}"/>
              </a:ext>
            </a:extLst>
          </p:cNvPr>
          <p:cNvSpPr txBox="1"/>
          <p:nvPr/>
        </p:nvSpPr>
        <p:spPr>
          <a:xfrm>
            <a:off x="9168735" y="1041232"/>
            <a:ext cx="10999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ana 24</a:t>
            </a:r>
            <a:endParaRPr kumimoji="0" lang="en-GB" sz="1400" b="0" i="0" u="none" strike="noStrike" kern="1200" cap="none" spc="0" normalizeH="0" baseline="3000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0" name="Grupo 149">
            <a:extLst>
              <a:ext uri="{FF2B5EF4-FFF2-40B4-BE49-F238E27FC236}">
                <a16:creationId xmlns:a16="http://schemas.microsoft.com/office/drawing/2014/main" id="{902A0D3C-DBBC-7F71-F3E2-D1E6DCF21807}"/>
              </a:ext>
            </a:extLst>
          </p:cNvPr>
          <p:cNvGrpSpPr/>
          <p:nvPr/>
        </p:nvGrpSpPr>
        <p:grpSpPr>
          <a:xfrm>
            <a:off x="7316968" y="1323037"/>
            <a:ext cx="4204544" cy="2303722"/>
            <a:chOff x="7365519" y="1235969"/>
            <a:chExt cx="3971944" cy="1809805"/>
          </a:xfrm>
        </p:grpSpPr>
        <p:grpSp>
          <p:nvGrpSpPr>
            <p:cNvPr id="151" name="Grupo 150">
              <a:extLst>
                <a:ext uri="{FF2B5EF4-FFF2-40B4-BE49-F238E27FC236}">
                  <a16:creationId xmlns:a16="http://schemas.microsoft.com/office/drawing/2014/main" id="{1C4B9C04-F5E1-BE7F-DFD5-C59C515BA69D}"/>
                </a:ext>
              </a:extLst>
            </p:cNvPr>
            <p:cNvGrpSpPr/>
            <p:nvPr/>
          </p:nvGrpSpPr>
          <p:grpSpPr>
            <a:xfrm>
              <a:off x="7525219" y="1235969"/>
              <a:ext cx="3812244" cy="1804165"/>
              <a:chOff x="4690678" y="1245170"/>
              <a:chExt cx="4071918" cy="2714612"/>
            </a:xfrm>
          </p:grpSpPr>
          <p:graphicFrame>
            <p:nvGraphicFramePr>
              <p:cNvPr id="154" name="Chart 14">
                <a:extLst>
                  <a:ext uri="{FF2B5EF4-FFF2-40B4-BE49-F238E27FC236}">
                    <a16:creationId xmlns:a16="http://schemas.microsoft.com/office/drawing/2014/main" id="{114125F8-CB74-8597-5A87-FEF953F17C0D}"/>
                  </a:ext>
                </a:extLst>
              </p:cNvPr>
              <p:cNvGraphicFramePr/>
              <p:nvPr/>
            </p:nvGraphicFramePr>
            <p:xfrm>
              <a:off x="4690678" y="1245170"/>
              <a:ext cx="4071918" cy="271461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155" name="TextBox 95">
                <a:extLst>
                  <a:ext uri="{FF2B5EF4-FFF2-40B4-BE49-F238E27FC236}">
                    <a16:creationId xmlns:a16="http://schemas.microsoft.com/office/drawing/2014/main" id="{A8410302-9C6A-F569-399E-836C03C4DE41}"/>
                  </a:ext>
                </a:extLst>
              </p:cNvPr>
              <p:cNvSpPr txBox="1"/>
              <p:nvPr/>
            </p:nvSpPr>
            <p:spPr>
              <a:xfrm>
                <a:off x="4724318" y="3594567"/>
                <a:ext cx="650893" cy="1924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122004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=278</a:t>
                </a:r>
              </a:p>
            </p:txBody>
          </p:sp>
        </p:grpSp>
        <p:sp>
          <p:nvSpPr>
            <p:cNvPr id="152" name="TextBox 25">
              <a:extLst>
                <a:ext uri="{FF2B5EF4-FFF2-40B4-BE49-F238E27FC236}">
                  <a16:creationId xmlns:a16="http://schemas.microsoft.com/office/drawing/2014/main" id="{ADA7E4FA-A1F9-4B8C-4A7C-7FD90D666AAB}"/>
                </a:ext>
              </a:extLst>
            </p:cNvPr>
            <p:cNvSpPr txBox="1"/>
            <p:nvPr/>
          </p:nvSpPr>
          <p:spPr>
            <a:xfrm rot="16200000">
              <a:off x="6762517" y="1963365"/>
              <a:ext cx="1583980" cy="3779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porción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cientes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ínicos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 la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mana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24</a:t>
              </a:r>
            </a:p>
          </p:txBody>
        </p:sp>
        <p:sp>
          <p:nvSpPr>
            <p:cNvPr id="153" name="Rectángulo 152">
              <a:extLst>
                <a:ext uri="{FF2B5EF4-FFF2-40B4-BE49-F238E27FC236}">
                  <a16:creationId xmlns:a16="http://schemas.microsoft.com/office/drawing/2014/main" id="{9A656714-AD81-6135-8526-EDD81AFE06DC}"/>
                </a:ext>
              </a:extLst>
            </p:cNvPr>
            <p:cNvSpPr/>
            <p:nvPr/>
          </p:nvSpPr>
          <p:spPr>
            <a:xfrm>
              <a:off x="8105035" y="1461793"/>
              <a:ext cx="1026367" cy="158398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6" name="Flecha: a la derecha 155">
            <a:extLst>
              <a:ext uri="{FF2B5EF4-FFF2-40B4-BE49-F238E27FC236}">
                <a16:creationId xmlns:a16="http://schemas.microsoft.com/office/drawing/2014/main" id="{61F58320-094D-F8C0-C058-F883F256A94A}"/>
              </a:ext>
            </a:extLst>
          </p:cNvPr>
          <p:cNvSpPr/>
          <p:nvPr/>
        </p:nvSpPr>
        <p:spPr>
          <a:xfrm>
            <a:off x="6580026" y="2221304"/>
            <a:ext cx="521428" cy="385428"/>
          </a:xfrm>
          <a:prstGeom prst="rightArrow">
            <a:avLst/>
          </a:prstGeom>
          <a:solidFill>
            <a:srgbClr val="B4E1D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7" name="Grupo 156">
            <a:extLst>
              <a:ext uri="{FF2B5EF4-FFF2-40B4-BE49-F238E27FC236}">
                <a16:creationId xmlns:a16="http://schemas.microsoft.com/office/drawing/2014/main" id="{E8F6151E-D82B-D525-A039-E5AE00AAD914}"/>
              </a:ext>
            </a:extLst>
          </p:cNvPr>
          <p:cNvGrpSpPr/>
          <p:nvPr/>
        </p:nvGrpSpPr>
        <p:grpSpPr>
          <a:xfrm>
            <a:off x="7096521" y="3900676"/>
            <a:ext cx="4894970" cy="1480234"/>
            <a:chOff x="6223034" y="3721821"/>
            <a:chExt cx="5494438" cy="1692458"/>
          </a:xfrm>
        </p:grpSpPr>
        <p:sp>
          <p:nvSpPr>
            <p:cNvPr id="158" name="Rectángulo 157">
              <a:extLst>
                <a:ext uri="{FF2B5EF4-FFF2-40B4-BE49-F238E27FC236}">
                  <a16:creationId xmlns:a16="http://schemas.microsoft.com/office/drawing/2014/main" id="{E548E0F9-93E5-C15E-E28D-0F614FC89740}"/>
                </a:ext>
              </a:extLst>
            </p:cNvPr>
            <p:cNvSpPr/>
            <p:nvPr/>
          </p:nvSpPr>
          <p:spPr>
            <a:xfrm>
              <a:off x="6223034" y="3721821"/>
              <a:ext cx="5494438" cy="1692458"/>
            </a:xfrm>
            <a:prstGeom prst="rect">
              <a:avLst/>
            </a:prstGeom>
            <a:solidFill>
              <a:srgbClr val="FFCCCC">
                <a:alpha val="36863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CuadroTexto 158">
              <a:extLst>
                <a:ext uri="{FF2B5EF4-FFF2-40B4-BE49-F238E27FC236}">
                  <a16:creationId xmlns:a16="http://schemas.microsoft.com/office/drawing/2014/main" id="{21557726-D204-D375-ED05-DD64CEF66F4F}"/>
                </a:ext>
              </a:extLst>
            </p:cNvPr>
            <p:cNvSpPr txBox="1"/>
            <p:nvPr/>
          </p:nvSpPr>
          <p:spPr>
            <a:xfrm>
              <a:off x="6393154" y="3811425"/>
              <a:ext cx="5137779" cy="143987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todos los estudios de RWE más del </a:t>
              </a:r>
              <a:r>
                <a:rPr kumimoji="0" lang="es-E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5%</a:t>
              </a:r>
              <a:r>
                <a:rPr kumimoji="0" lang="es-ES" sz="1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los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édicos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 el </a:t>
              </a:r>
              <a:r>
                <a:rPr kumimoji="0" lang="es-E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0%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los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cientes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expresaron su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seo de considerar nuevamente </a:t>
              </a:r>
              <a:r>
                <a:rPr kumimoji="0" lang="es-ES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rbanibulina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s-ES" sz="1200" b="1" i="0" u="sng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la semana 8</a:t>
              </a:r>
              <a:r>
                <a:rPr kumimoji="0" lang="es-ES" sz="12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 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 se mantuvo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el PROAK en más de un </a:t>
              </a:r>
              <a:r>
                <a:rPr kumimoji="0" lang="es-ES" sz="16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7% </a:t>
              </a:r>
              <a:r>
                <a:rPr kumimoji="0" lang="es-ES" sz="1200" b="1" i="0" u="sng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sta la semana 24</a:t>
              </a:r>
              <a:r>
                <a:rPr kumimoji="0" lang="es-ES" sz="1200" b="1" i="0" u="none" strike="noStrike" kern="120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</a:t>
              </a:r>
              <a:endPara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0" name="CuadroTexto 159">
            <a:extLst>
              <a:ext uri="{FF2B5EF4-FFF2-40B4-BE49-F238E27FC236}">
                <a16:creationId xmlns:a16="http://schemas.microsoft.com/office/drawing/2014/main" id="{176004C3-15EB-8D5F-0D34-C89C86D3FC06}"/>
              </a:ext>
            </a:extLst>
          </p:cNvPr>
          <p:cNvSpPr txBox="1"/>
          <p:nvPr/>
        </p:nvSpPr>
        <p:spPr>
          <a:xfrm>
            <a:off x="6741397" y="1111484"/>
            <a:ext cx="1551251" cy="3077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udio PROAK</a:t>
            </a:r>
            <a:r>
              <a:rPr kumimoji="0" lang="es-ES_tradnl" sz="1400" b="0" i="0" u="none" strike="noStrike" kern="120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s-ES" sz="1400" b="0" i="0" u="none" strike="noStrike" kern="1200" cap="none" spc="0" normalizeH="0" baseline="3000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1" name="CuadroTexto 160">
            <a:extLst>
              <a:ext uri="{FF2B5EF4-FFF2-40B4-BE49-F238E27FC236}">
                <a16:creationId xmlns:a16="http://schemas.microsoft.com/office/drawing/2014/main" id="{8B7A08A0-7FE7-A630-125D-79FCA088879D}"/>
              </a:ext>
            </a:extLst>
          </p:cNvPr>
          <p:cNvSpPr txBox="1"/>
          <p:nvPr/>
        </p:nvSpPr>
        <p:spPr>
          <a:xfrm>
            <a:off x="1035079" y="4834004"/>
            <a:ext cx="74501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ínico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CuadroTexto 161">
            <a:extLst>
              <a:ext uri="{FF2B5EF4-FFF2-40B4-BE49-F238E27FC236}">
                <a16:creationId xmlns:a16="http://schemas.microsoft.com/office/drawing/2014/main" id="{A8D66EB9-6077-7999-6859-C2D5527AA19C}"/>
              </a:ext>
            </a:extLst>
          </p:cNvPr>
          <p:cNvSpPr txBox="1"/>
          <p:nvPr/>
        </p:nvSpPr>
        <p:spPr>
          <a:xfrm>
            <a:off x="935646" y="5314618"/>
            <a:ext cx="867402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02973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>
            <a:extLst>
              <a:ext uri="{FF2B5EF4-FFF2-40B4-BE49-F238E27FC236}">
                <a16:creationId xmlns:a16="http://schemas.microsoft.com/office/drawing/2014/main" id="{9F479BE2-CD07-EB13-F023-556A9C499596}"/>
              </a:ext>
            </a:extLst>
          </p:cNvPr>
          <p:cNvGrpSpPr/>
          <p:nvPr/>
        </p:nvGrpSpPr>
        <p:grpSpPr>
          <a:xfrm>
            <a:off x="6806468" y="3429001"/>
            <a:ext cx="5010865" cy="2329047"/>
            <a:chOff x="5415863" y="2413305"/>
            <a:chExt cx="2648982" cy="1155185"/>
          </a:xfrm>
        </p:grpSpPr>
        <p:sp>
          <p:nvSpPr>
            <p:cNvPr id="5" name="Freeform: Shape 123">
              <a:extLst>
                <a:ext uri="{FF2B5EF4-FFF2-40B4-BE49-F238E27FC236}">
                  <a16:creationId xmlns:a16="http://schemas.microsoft.com/office/drawing/2014/main" id="{D5820BF2-1A8F-B6E9-DAB2-D4E1D3581AE6}"/>
                </a:ext>
              </a:extLst>
            </p:cNvPr>
            <p:cNvSpPr/>
            <p:nvPr/>
          </p:nvSpPr>
          <p:spPr>
            <a:xfrm rot="565397">
              <a:off x="5415863" y="2461442"/>
              <a:ext cx="935124" cy="719906"/>
            </a:xfrm>
            <a:custGeom>
              <a:avLst/>
              <a:gdLst>
                <a:gd name="connsiteX0" fmla="*/ 57693 w 136053"/>
                <a:gd name="connsiteY0" fmla="*/ 104709 h 104780"/>
                <a:gd name="connsiteX1" fmla="*/ 2960 w 136053"/>
                <a:gd name="connsiteY1" fmla="*/ 53459 h 104780"/>
                <a:gd name="connsiteX2" fmla="*/ 29799 w 136053"/>
                <a:gd name="connsiteY2" fmla="*/ 2765 h 104780"/>
                <a:gd name="connsiteX3" fmla="*/ 135314 w 136053"/>
                <a:gd name="connsiteY3" fmla="*/ 31507 h 104780"/>
                <a:gd name="connsiteX4" fmla="*/ 57693 w 136053"/>
                <a:gd name="connsiteY4" fmla="*/ 104709 h 10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053" h="104780">
                  <a:moveTo>
                    <a:pt x="57693" y="104709"/>
                  </a:moveTo>
                  <a:cubicBezTo>
                    <a:pt x="30736" y="106377"/>
                    <a:pt x="11126" y="78864"/>
                    <a:pt x="2960" y="53459"/>
                  </a:cubicBezTo>
                  <a:cubicBezTo>
                    <a:pt x="-4767" y="29400"/>
                    <a:pt x="2111" y="7624"/>
                    <a:pt x="29799" y="2765"/>
                  </a:cubicBezTo>
                  <a:cubicBezTo>
                    <a:pt x="72561" y="-4728"/>
                    <a:pt x="129665" y="2414"/>
                    <a:pt x="135314" y="31507"/>
                  </a:cubicBezTo>
                  <a:cubicBezTo>
                    <a:pt x="142982" y="71283"/>
                    <a:pt x="89215" y="102777"/>
                    <a:pt x="57693" y="104709"/>
                  </a:cubicBezTo>
                </a:path>
              </a:pathLst>
            </a:custGeom>
            <a:solidFill>
              <a:srgbClr val="B4E1D6"/>
            </a:solidFill>
            <a:ln w="6350" cap="flat">
              <a:noFill/>
              <a:prstDash val="solid"/>
              <a:miter/>
            </a:ln>
            <a:effectLst>
              <a:outerShdw blurRad="254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: Shape 118">
              <a:extLst>
                <a:ext uri="{FF2B5EF4-FFF2-40B4-BE49-F238E27FC236}">
                  <a16:creationId xmlns:a16="http://schemas.microsoft.com/office/drawing/2014/main" id="{0701EE9B-DB73-F335-AEE7-3B2489E7A70C}"/>
                </a:ext>
              </a:extLst>
            </p:cNvPr>
            <p:cNvSpPr/>
            <p:nvPr/>
          </p:nvSpPr>
          <p:spPr>
            <a:xfrm rot="10333687" flipH="1">
              <a:off x="5557995" y="2413305"/>
              <a:ext cx="2506850" cy="1155185"/>
            </a:xfrm>
            <a:custGeom>
              <a:avLst/>
              <a:gdLst>
                <a:gd name="connsiteX0" fmla="*/ 347353 w 818995"/>
                <a:gd name="connsiteY0" fmla="*/ 630544 h 630976"/>
                <a:gd name="connsiteX1" fmla="*/ 17807 w 818995"/>
                <a:gd name="connsiteY1" fmla="*/ 321955 h 630976"/>
                <a:gd name="connsiteX2" fmla="*/ 179390 w 818995"/>
                <a:gd name="connsiteY2" fmla="*/ 16707 h 630976"/>
                <a:gd name="connsiteX3" fmla="*/ 814488 w 818995"/>
                <a:gd name="connsiteY3" fmla="*/ 189833 h 630976"/>
                <a:gd name="connsiteX4" fmla="*/ 347353 w 818995"/>
                <a:gd name="connsiteY4" fmla="*/ 630544 h 63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995" h="630976">
                  <a:moveTo>
                    <a:pt x="347353" y="630544"/>
                  </a:moveTo>
                  <a:cubicBezTo>
                    <a:pt x="184858" y="640567"/>
                    <a:pt x="67011" y="474731"/>
                    <a:pt x="17807" y="321955"/>
                  </a:cubicBezTo>
                  <a:cubicBezTo>
                    <a:pt x="-28664" y="177076"/>
                    <a:pt x="12643" y="46169"/>
                    <a:pt x="179390" y="16707"/>
                  </a:cubicBezTo>
                  <a:cubicBezTo>
                    <a:pt x="436649" y="-28548"/>
                    <a:pt x="780774" y="14581"/>
                    <a:pt x="814488" y="189833"/>
                  </a:cubicBezTo>
                  <a:cubicBezTo>
                    <a:pt x="860959" y="429171"/>
                    <a:pt x="537183" y="618699"/>
                    <a:pt x="347353" y="630544"/>
                  </a:cubicBezTo>
                </a:path>
              </a:pathLst>
            </a:custGeom>
            <a:solidFill>
              <a:srgbClr val="FFEF9A"/>
            </a:solidFill>
            <a:ln w="302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7" name="Grupo 6">
            <a:extLst>
              <a:ext uri="{FF2B5EF4-FFF2-40B4-BE49-F238E27FC236}">
                <a16:creationId xmlns:a16="http://schemas.microsoft.com/office/drawing/2014/main" id="{C367E3B2-30AA-4C18-AA89-1EB29A5E00CF}"/>
              </a:ext>
            </a:extLst>
          </p:cNvPr>
          <p:cNvGrpSpPr/>
          <p:nvPr/>
        </p:nvGrpSpPr>
        <p:grpSpPr>
          <a:xfrm>
            <a:off x="2704555" y="556837"/>
            <a:ext cx="6729916" cy="2368672"/>
            <a:chOff x="562597" y="2250311"/>
            <a:chExt cx="2666789" cy="993524"/>
          </a:xfrm>
        </p:grpSpPr>
        <p:sp>
          <p:nvSpPr>
            <p:cNvPr id="8" name="Freeform: Shape 125">
              <a:extLst>
                <a:ext uri="{FF2B5EF4-FFF2-40B4-BE49-F238E27FC236}">
                  <a16:creationId xmlns:a16="http://schemas.microsoft.com/office/drawing/2014/main" id="{F8EE203D-0E1C-2294-FF90-A0E0D81CEC08}"/>
                </a:ext>
              </a:extLst>
            </p:cNvPr>
            <p:cNvSpPr/>
            <p:nvPr/>
          </p:nvSpPr>
          <p:spPr>
            <a:xfrm rot="3195648">
              <a:off x="2358913" y="2357920"/>
              <a:ext cx="935124" cy="719906"/>
            </a:xfrm>
            <a:custGeom>
              <a:avLst/>
              <a:gdLst>
                <a:gd name="connsiteX0" fmla="*/ 57693 w 136053"/>
                <a:gd name="connsiteY0" fmla="*/ 104709 h 104780"/>
                <a:gd name="connsiteX1" fmla="*/ 2960 w 136053"/>
                <a:gd name="connsiteY1" fmla="*/ 53459 h 104780"/>
                <a:gd name="connsiteX2" fmla="*/ 29799 w 136053"/>
                <a:gd name="connsiteY2" fmla="*/ 2765 h 104780"/>
                <a:gd name="connsiteX3" fmla="*/ 135314 w 136053"/>
                <a:gd name="connsiteY3" fmla="*/ 31507 h 104780"/>
                <a:gd name="connsiteX4" fmla="*/ 57693 w 136053"/>
                <a:gd name="connsiteY4" fmla="*/ 104709 h 10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053" h="104780">
                  <a:moveTo>
                    <a:pt x="57693" y="104709"/>
                  </a:moveTo>
                  <a:cubicBezTo>
                    <a:pt x="30736" y="106377"/>
                    <a:pt x="11126" y="78864"/>
                    <a:pt x="2960" y="53459"/>
                  </a:cubicBezTo>
                  <a:cubicBezTo>
                    <a:pt x="-4767" y="29400"/>
                    <a:pt x="2111" y="7624"/>
                    <a:pt x="29799" y="2765"/>
                  </a:cubicBezTo>
                  <a:cubicBezTo>
                    <a:pt x="72561" y="-4728"/>
                    <a:pt x="129665" y="2414"/>
                    <a:pt x="135314" y="31507"/>
                  </a:cubicBezTo>
                  <a:cubicBezTo>
                    <a:pt x="142982" y="71283"/>
                    <a:pt x="89215" y="102777"/>
                    <a:pt x="57693" y="104709"/>
                  </a:cubicBezTo>
                </a:path>
              </a:pathLst>
            </a:custGeom>
            <a:solidFill>
              <a:srgbClr val="E73C3E"/>
            </a:solidFill>
            <a:ln w="6350" cap="flat">
              <a:noFill/>
              <a:prstDash val="solid"/>
              <a:miter/>
            </a:ln>
            <a:effectLst>
              <a:outerShdw blurRad="254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Freeform: Shape 94">
              <a:extLst>
                <a:ext uri="{FF2B5EF4-FFF2-40B4-BE49-F238E27FC236}">
                  <a16:creationId xmlns:a16="http://schemas.microsoft.com/office/drawing/2014/main" id="{7DD157B4-D661-BB10-06D7-BF44B687EADC}"/>
                </a:ext>
              </a:extLst>
            </p:cNvPr>
            <p:cNvSpPr/>
            <p:nvPr/>
          </p:nvSpPr>
          <p:spPr>
            <a:xfrm rot="10568853" flipH="1">
              <a:off x="562597" y="2394199"/>
              <a:ext cx="2666789" cy="849636"/>
            </a:xfrm>
            <a:custGeom>
              <a:avLst/>
              <a:gdLst>
                <a:gd name="connsiteX0" fmla="*/ 347353 w 818995"/>
                <a:gd name="connsiteY0" fmla="*/ 630544 h 630976"/>
                <a:gd name="connsiteX1" fmla="*/ 17807 w 818995"/>
                <a:gd name="connsiteY1" fmla="*/ 321955 h 630976"/>
                <a:gd name="connsiteX2" fmla="*/ 179390 w 818995"/>
                <a:gd name="connsiteY2" fmla="*/ 16707 h 630976"/>
                <a:gd name="connsiteX3" fmla="*/ 814488 w 818995"/>
                <a:gd name="connsiteY3" fmla="*/ 189833 h 630976"/>
                <a:gd name="connsiteX4" fmla="*/ 347353 w 818995"/>
                <a:gd name="connsiteY4" fmla="*/ 630544 h 63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995" h="630976">
                  <a:moveTo>
                    <a:pt x="347353" y="630544"/>
                  </a:moveTo>
                  <a:cubicBezTo>
                    <a:pt x="184858" y="640567"/>
                    <a:pt x="67011" y="474731"/>
                    <a:pt x="17807" y="321955"/>
                  </a:cubicBezTo>
                  <a:cubicBezTo>
                    <a:pt x="-28664" y="177076"/>
                    <a:pt x="12643" y="46169"/>
                    <a:pt x="179390" y="16707"/>
                  </a:cubicBezTo>
                  <a:cubicBezTo>
                    <a:pt x="436649" y="-28548"/>
                    <a:pt x="780774" y="14581"/>
                    <a:pt x="814488" y="189833"/>
                  </a:cubicBezTo>
                  <a:cubicBezTo>
                    <a:pt x="860959" y="429171"/>
                    <a:pt x="537183" y="618699"/>
                    <a:pt x="347353" y="630544"/>
                  </a:cubicBezTo>
                </a:path>
              </a:pathLst>
            </a:custGeom>
            <a:solidFill>
              <a:srgbClr val="002855"/>
            </a:solidFill>
            <a:ln w="302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1" name="CuadroTexto 10">
            <a:extLst>
              <a:ext uri="{FF2B5EF4-FFF2-40B4-BE49-F238E27FC236}">
                <a16:creationId xmlns:a16="http://schemas.microsoft.com/office/drawing/2014/main" id="{756C78B7-1C3B-E4F0-DB6F-F599EB8A613D}"/>
              </a:ext>
            </a:extLst>
          </p:cNvPr>
          <p:cNvSpPr txBox="1"/>
          <p:nvPr/>
        </p:nvSpPr>
        <p:spPr>
          <a:xfrm>
            <a:off x="3916395" y="1254942"/>
            <a:ext cx="4025163" cy="14551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ICACIA</a:t>
            </a:r>
            <a:r>
              <a:rPr kumimoji="0" lang="es-ES" sz="21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</a:t>
            </a:r>
            <a:r>
              <a:rPr kumimoji="0" lang="es-ES" sz="18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o en las lesiones visibles como en el campo de cancerización</a:t>
            </a:r>
            <a:r>
              <a:rPr kumimoji="0" lang="es-ES" sz="1867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s-ES" sz="18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234950AB-7EF2-1F3A-FEAD-E5484843F734}"/>
              </a:ext>
            </a:extLst>
          </p:cNvPr>
          <p:cNvSpPr txBox="1"/>
          <p:nvPr/>
        </p:nvSpPr>
        <p:spPr>
          <a:xfrm>
            <a:off x="7330088" y="3499466"/>
            <a:ext cx="4329656" cy="189333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_tradnl"/>
            </a:defPPr>
            <a:lvl1pPr algn="ctr">
              <a:lnSpc>
                <a:spcPct val="150000"/>
              </a:lnSpc>
              <a:spcBef>
                <a:spcPts val="600"/>
              </a:spcBef>
              <a:defRPr sz="1200" b="1">
                <a:solidFill>
                  <a:srgbClr val="003466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il de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guridad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y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lerabilidad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e no cause reacción cutánea grave, permanente o que comprometa el bienestar del paciente</a:t>
            </a:r>
            <a:r>
              <a:rPr kumimoji="0" lang="es-ES" sz="1600" b="0" i="0" u="none" strike="noStrike" kern="1200" cap="none" spc="0" normalizeH="0" baseline="30000" noProof="0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,3</a:t>
            </a: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00346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E1A013DB-5662-0FF8-63F9-B87C5765ACAC}"/>
              </a:ext>
            </a:extLst>
          </p:cNvPr>
          <p:cNvSpPr/>
          <p:nvPr/>
        </p:nvSpPr>
        <p:spPr>
          <a:xfrm>
            <a:off x="556191" y="5884122"/>
            <a:ext cx="8093351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933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breviaturas: </a:t>
            </a:r>
            <a:r>
              <a:rPr kumimoji="0" lang="es-ES" sz="933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E</a:t>
            </a:r>
            <a:r>
              <a:rPr kumimoji="0" lang="es-ES" sz="933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: Carcinoma escamoso; </a:t>
            </a:r>
            <a:r>
              <a:rPr kumimoji="0" lang="es-ES" sz="933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VRS</a:t>
            </a:r>
            <a:r>
              <a:rPr kumimoji="0" lang="es-ES" sz="933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: Calidad de vida relacionada con la salud; </a:t>
            </a:r>
            <a:r>
              <a:rPr kumimoji="0" lang="es-ES" sz="933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QA</a:t>
            </a:r>
            <a:r>
              <a:rPr kumimoji="0" lang="es-ES" sz="933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: Queratosis actínica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B101ECA-8613-70AD-6632-032A428F132B}"/>
              </a:ext>
            </a:extLst>
          </p:cNvPr>
          <p:cNvSpPr/>
          <p:nvPr/>
        </p:nvSpPr>
        <p:spPr>
          <a:xfrm>
            <a:off x="1898430" y="6138771"/>
            <a:ext cx="85484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lauvelt A, et al. Phase 3 Tirbanibulin for Actinic Keratosis Group. Phase 3 Trials of Tirbanibulin Ointment for Actinic Keratosis. N Engl J Med. 2021 Feb 11;384(6):512-520.</a:t>
            </a: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ilaberte Y, Fernández-Figueras MT. Tirbanibulin: review of its novel mechanism of action and how it fits into the treatment of actinic keratosis. Actas Dermosifiliogr. 2022 Jan;113(1):58-66.</a:t>
            </a: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ada A, Feldman SR, Bragazzi NL, Damiani G. Patient-reported outcomes of topical therapies in actinic keratosis: A systematic review. Dermatol Ther. 2021 Mar;34(2):e14833. doi: 10.1111/dth.14833.</a:t>
            </a:r>
            <a:endParaRPr kumimoji="0" lang="es-ES" sz="800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8A045C9D-C0FF-8DDF-A4EA-75EDFDE11563}"/>
              </a:ext>
            </a:extLst>
          </p:cNvPr>
          <p:cNvGrpSpPr/>
          <p:nvPr/>
        </p:nvGrpSpPr>
        <p:grpSpPr>
          <a:xfrm>
            <a:off x="2704555" y="544137"/>
            <a:ext cx="6729916" cy="2368672"/>
            <a:chOff x="562597" y="2250311"/>
            <a:chExt cx="2666789" cy="993524"/>
          </a:xfrm>
        </p:grpSpPr>
        <p:sp>
          <p:nvSpPr>
            <p:cNvPr id="16" name="Freeform: Shape 125">
              <a:extLst>
                <a:ext uri="{FF2B5EF4-FFF2-40B4-BE49-F238E27FC236}">
                  <a16:creationId xmlns:a16="http://schemas.microsoft.com/office/drawing/2014/main" id="{B6647F78-BE8E-E317-1A85-9416EAA10284}"/>
                </a:ext>
              </a:extLst>
            </p:cNvPr>
            <p:cNvSpPr/>
            <p:nvPr/>
          </p:nvSpPr>
          <p:spPr>
            <a:xfrm rot="3195648">
              <a:off x="2358913" y="2357920"/>
              <a:ext cx="935124" cy="719906"/>
            </a:xfrm>
            <a:custGeom>
              <a:avLst/>
              <a:gdLst>
                <a:gd name="connsiteX0" fmla="*/ 57693 w 136053"/>
                <a:gd name="connsiteY0" fmla="*/ 104709 h 104780"/>
                <a:gd name="connsiteX1" fmla="*/ 2960 w 136053"/>
                <a:gd name="connsiteY1" fmla="*/ 53459 h 104780"/>
                <a:gd name="connsiteX2" fmla="*/ 29799 w 136053"/>
                <a:gd name="connsiteY2" fmla="*/ 2765 h 104780"/>
                <a:gd name="connsiteX3" fmla="*/ 135314 w 136053"/>
                <a:gd name="connsiteY3" fmla="*/ 31507 h 104780"/>
                <a:gd name="connsiteX4" fmla="*/ 57693 w 136053"/>
                <a:gd name="connsiteY4" fmla="*/ 104709 h 10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053" h="104780">
                  <a:moveTo>
                    <a:pt x="57693" y="104709"/>
                  </a:moveTo>
                  <a:cubicBezTo>
                    <a:pt x="30736" y="106377"/>
                    <a:pt x="11126" y="78864"/>
                    <a:pt x="2960" y="53459"/>
                  </a:cubicBezTo>
                  <a:cubicBezTo>
                    <a:pt x="-4767" y="29400"/>
                    <a:pt x="2111" y="7624"/>
                    <a:pt x="29799" y="2765"/>
                  </a:cubicBezTo>
                  <a:cubicBezTo>
                    <a:pt x="72561" y="-4728"/>
                    <a:pt x="129665" y="2414"/>
                    <a:pt x="135314" y="31507"/>
                  </a:cubicBezTo>
                  <a:cubicBezTo>
                    <a:pt x="142982" y="71283"/>
                    <a:pt x="89215" y="102777"/>
                    <a:pt x="57693" y="104709"/>
                  </a:cubicBezTo>
                </a:path>
              </a:pathLst>
            </a:custGeom>
            <a:solidFill>
              <a:srgbClr val="E73C3E"/>
            </a:solidFill>
            <a:ln w="6350" cap="flat">
              <a:noFill/>
              <a:prstDash val="solid"/>
              <a:miter/>
            </a:ln>
            <a:effectLst>
              <a:outerShdw blurRad="254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: Shape 94">
              <a:extLst>
                <a:ext uri="{FF2B5EF4-FFF2-40B4-BE49-F238E27FC236}">
                  <a16:creationId xmlns:a16="http://schemas.microsoft.com/office/drawing/2014/main" id="{63F5DFCA-2DA4-C40C-E23A-7383750821FE}"/>
                </a:ext>
              </a:extLst>
            </p:cNvPr>
            <p:cNvSpPr/>
            <p:nvPr/>
          </p:nvSpPr>
          <p:spPr>
            <a:xfrm rot="10568853" flipH="1">
              <a:off x="562597" y="2394199"/>
              <a:ext cx="2666789" cy="849636"/>
            </a:xfrm>
            <a:custGeom>
              <a:avLst/>
              <a:gdLst>
                <a:gd name="connsiteX0" fmla="*/ 347353 w 818995"/>
                <a:gd name="connsiteY0" fmla="*/ 630544 h 630976"/>
                <a:gd name="connsiteX1" fmla="*/ 17807 w 818995"/>
                <a:gd name="connsiteY1" fmla="*/ 321955 h 630976"/>
                <a:gd name="connsiteX2" fmla="*/ 179390 w 818995"/>
                <a:gd name="connsiteY2" fmla="*/ 16707 h 630976"/>
                <a:gd name="connsiteX3" fmla="*/ 814488 w 818995"/>
                <a:gd name="connsiteY3" fmla="*/ 189833 h 630976"/>
                <a:gd name="connsiteX4" fmla="*/ 347353 w 818995"/>
                <a:gd name="connsiteY4" fmla="*/ 630544 h 63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995" h="630976">
                  <a:moveTo>
                    <a:pt x="347353" y="630544"/>
                  </a:moveTo>
                  <a:cubicBezTo>
                    <a:pt x="184858" y="640567"/>
                    <a:pt x="67011" y="474731"/>
                    <a:pt x="17807" y="321955"/>
                  </a:cubicBezTo>
                  <a:cubicBezTo>
                    <a:pt x="-28664" y="177076"/>
                    <a:pt x="12643" y="46169"/>
                    <a:pt x="179390" y="16707"/>
                  </a:cubicBezTo>
                  <a:cubicBezTo>
                    <a:pt x="436649" y="-28548"/>
                    <a:pt x="780774" y="14581"/>
                    <a:pt x="814488" y="189833"/>
                  </a:cubicBezTo>
                  <a:cubicBezTo>
                    <a:pt x="860959" y="429171"/>
                    <a:pt x="537183" y="618699"/>
                    <a:pt x="347353" y="630544"/>
                  </a:cubicBezTo>
                </a:path>
              </a:pathLst>
            </a:custGeom>
            <a:solidFill>
              <a:srgbClr val="002855"/>
            </a:solidFill>
            <a:ln w="302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8" name="CuadroTexto 17">
            <a:extLst>
              <a:ext uri="{FF2B5EF4-FFF2-40B4-BE49-F238E27FC236}">
                <a16:creationId xmlns:a16="http://schemas.microsoft.com/office/drawing/2014/main" id="{25CD16D9-AC4A-53AE-3287-7BD23DE55E18}"/>
              </a:ext>
            </a:extLst>
          </p:cNvPr>
          <p:cNvSpPr txBox="1"/>
          <p:nvPr/>
        </p:nvSpPr>
        <p:spPr>
          <a:xfrm>
            <a:off x="3916395" y="1242242"/>
            <a:ext cx="4025163" cy="14551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ICACIA</a:t>
            </a:r>
            <a:r>
              <a:rPr kumimoji="0" lang="es-ES" sz="21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</a:t>
            </a:r>
            <a:r>
              <a:rPr kumimoji="0" lang="es-ES" sz="18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o en las lesiones visibles como en el campo de cancerización</a:t>
            </a:r>
            <a:r>
              <a:rPr kumimoji="0" lang="es-ES" sz="1867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s-ES" sz="18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Marcador de texto 1">
            <a:extLst>
              <a:ext uri="{FF2B5EF4-FFF2-40B4-BE49-F238E27FC236}">
                <a16:creationId xmlns:a16="http://schemas.microsoft.com/office/drawing/2014/main" id="{4E3F80B9-5DAF-C86B-24E8-2B851BA6F8E6}"/>
              </a:ext>
            </a:extLst>
          </p:cNvPr>
          <p:cNvSpPr txBox="1">
            <a:spLocks/>
          </p:cNvSpPr>
          <p:nvPr/>
        </p:nvSpPr>
        <p:spPr>
          <a:xfrm>
            <a:off x="441901" y="409611"/>
            <a:ext cx="3022660" cy="896579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2400" b="1">
                <a:solidFill>
                  <a:srgbClr val="E63D42"/>
                </a:solidFill>
              </a:rPr>
              <a:t>Conclusiones</a:t>
            </a:r>
            <a:endParaRPr lang="es-ES" sz="2400" b="1">
              <a:solidFill>
                <a:srgbClr val="E63D42"/>
              </a:solidFill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0D5B8906-92B1-EC8E-7630-B03C34DCC8AF}"/>
              </a:ext>
            </a:extLst>
          </p:cNvPr>
          <p:cNvGrpSpPr/>
          <p:nvPr/>
        </p:nvGrpSpPr>
        <p:grpSpPr>
          <a:xfrm flipH="1">
            <a:off x="95382" y="3316954"/>
            <a:ext cx="6434783" cy="2399517"/>
            <a:chOff x="562597" y="2272508"/>
            <a:chExt cx="2666789" cy="971327"/>
          </a:xfrm>
        </p:grpSpPr>
        <p:sp>
          <p:nvSpPr>
            <p:cNvPr id="21" name="Freeform: Shape 125">
              <a:extLst>
                <a:ext uri="{FF2B5EF4-FFF2-40B4-BE49-F238E27FC236}">
                  <a16:creationId xmlns:a16="http://schemas.microsoft.com/office/drawing/2014/main" id="{202B425C-C274-ADB1-15D5-886863EF88F1}"/>
                </a:ext>
              </a:extLst>
            </p:cNvPr>
            <p:cNvSpPr/>
            <p:nvPr/>
          </p:nvSpPr>
          <p:spPr>
            <a:xfrm rot="3195648">
              <a:off x="2314883" y="2277578"/>
              <a:ext cx="709656" cy="699515"/>
            </a:xfrm>
            <a:custGeom>
              <a:avLst/>
              <a:gdLst>
                <a:gd name="connsiteX0" fmla="*/ 57693 w 136053"/>
                <a:gd name="connsiteY0" fmla="*/ 104709 h 104780"/>
                <a:gd name="connsiteX1" fmla="*/ 2960 w 136053"/>
                <a:gd name="connsiteY1" fmla="*/ 53459 h 104780"/>
                <a:gd name="connsiteX2" fmla="*/ 29799 w 136053"/>
                <a:gd name="connsiteY2" fmla="*/ 2765 h 104780"/>
                <a:gd name="connsiteX3" fmla="*/ 135314 w 136053"/>
                <a:gd name="connsiteY3" fmla="*/ 31507 h 104780"/>
                <a:gd name="connsiteX4" fmla="*/ 57693 w 136053"/>
                <a:gd name="connsiteY4" fmla="*/ 104709 h 10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053" h="104780">
                  <a:moveTo>
                    <a:pt x="57693" y="104709"/>
                  </a:moveTo>
                  <a:cubicBezTo>
                    <a:pt x="30736" y="106377"/>
                    <a:pt x="11126" y="78864"/>
                    <a:pt x="2960" y="53459"/>
                  </a:cubicBezTo>
                  <a:cubicBezTo>
                    <a:pt x="-4767" y="29400"/>
                    <a:pt x="2111" y="7624"/>
                    <a:pt x="29799" y="2765"/>
                  </a:cubicBezTo>
                  <a:cubicBezTo>
                    <a:pt x="72561" y="-4728"/>
                    <a:pt x="129665" y="2414"/>
                    <a:pt x="135314" y="31507"/>
                  </a:cubicBezTo>
                  <a:cubicBezTo>
                    <a:pt x="142982" y="71283"/>
                    <a:pt x="89215" y="102777"/>
                    <a:pt x="57693" y="104709"/>
                  </a:cubicBezTo>
                </a:path>
              </a:pathLst>
            </a:custGeom>
            <a:solidFill>
              <a:srgbClr val="003466"/>
            </a:solidFill>
            <a:ln w="6350" cap="flat">
              <a:noFill/>
              <a:prstDash val="solid"/>
              <a:miter/>
            </a:ln>
            <a:effectLst>
              <a:outerShdw blurRad="254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Freeform: Shape 94">
              <a:extLst>
                <a:ext uri="{FF2B5EF4-FFF2-40B4-BE49-F238E27FC236}">
                  <a16:creationId xmlns:a16="http://schemas.microsoft.com/office/drawing/2014/main" id="{4DC7C6AC-1825-3500-71E4-55468A73BEFF}"/>
                </a:ext>
              </a:extLst>
            </p:cNvPr>
            <p:cNvSpPr/>
            <p:nvPr/>
          </p:nvSpPr>
          <p:spPr>
            <a:xfrm rot="10568853" flipH="1">
              <a:off x="562597" y="2394199"/>
              <a:ext cx="2666789" cy="849636"/>
            </a:xfrm>
            <a:custGeom>
              <a:avLst/>
              <a:gdLst>
                <a:gd name="connsiteX0" fmla="*/ 347353 w 818995"/>
                <a:gd name="connsiteY0" fmla="*/ 630544 h 630976"/>
                <a:gd name="connsiteX1" fmla="*/ 17807 w 818995"/>
                <a:gd name="connsiteY1" fmla="*/ 321955 h 630976"/>
                <a:gd name="connsiteX2" fmla="*/ 179390 w 818995"/>
                <a:gd name="connsiteY2" fmla="*/ 16707 h 630976"/>
                <a:gd name="connsiteX3" fmla="*/ 814488 w 818995"/>
                <a:gd name="connsiteY3" fmla="*/ 189833 h 630976"/>
                <a:gd name="connsiteX4" fmla="*/ 347353 w 818995"/>
                <a:gd name="connsiteY4" fmla="*/ 630544 h 63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995" h="630976">
                  <a:moveTo>
                    <a:pt x="347353" y="630544"/>
                  </a:moveTo>
                  <a:cubicBezTo>
                    <a:pt x="184858" y="640567"/>
                    <a:pt x="67011" y="474731"/>
                    <a:pt x="17807" y="321955"/>
                  </a:cubicBezTo>
                  <a:cubicBezTo>
                    <a:pt x="-28664" y="177076"/>
                    <a:pt x="12643" y="46169"/>
                    <a:pt x="179390" y="16707"/>
                  </a:cubicBezTo>
                  <a:cubicBezTo>
                    <a:pt x="436649" y="-28548"/>
                    <a:pt x="780774" y="14581"/>
                    <a:pt x="814488" y="189833"/>
                  </a:cubicBezTo>
                  <a:cubicBezTo>
                    <a:pt x="860959" y="429171"/>
                    <a:pt x="537183" y="618699"/>
                    <a:pt x="347353" y="630544"/>
                  </a:cubicBezTo>
                </a:path>
              </a:pathLst>
            </a:custGeom>
            <a:solidFill>
              <a:srgbClr val="B4E1D6"/>
            </a:solidFill>
            <a:ln w="302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3" name="Marcador de contenido 4">
            <a:extLst>
              <a:ext uri="{FF2B5EF4-FFF2-40B4-BE49-F238E27FC236}">
                <a16:creationId xmlns:a16="http://schemas.microsoft.com/office/drawing/2014/main" id="{8CAC0EDE-F1F1-88D6-D454-3784985F4A3E}"/>
              </a:ext>
            </a:extLst>
          </p:cNvPr>
          <p:cNvSpPr txBox="1">
            <a:spLocks/>
          </p:cNvSpPr>
          <p:nvPr/>
        </p:nvSpPr>
        <p:spPr>
          <a:xfrm>
            <a:off x="613896" y="3972228"/>
            <a:ext cx="5358953" cy="1185539"/>
          </a:xfrm>
          <a:prstGeom prst="rect">
            <a:avLst/>
          </a:prstGeom>
        </p:spPr>
        <p:txBody>
          <a:bodyPr/>
          <a:lstStyle>
            <a:defPPr>
              <a:defRPr lang="es-ES_tradnl"/>
            </a:defPPr>
            <a:lvl1pPr marL="0" algn="l" defTabSz="914400" rtl="0" eaLnBrk="1" latinLnBrk="0" hangingPunct="1">
              <a:defRPr sz="75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a 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uta posológica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CILLA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 de 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rta duración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que favorezca la 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herencia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ra maximizar la obtención de los resultados clínicos esperados</a:t>
            </a:r>
            <a:r>
              <a:rPr kumimoji="0" lang="es-ES" sz="1600" b="0" i="0" u="none" strike="noStrike" kern="1200" cap="none" spc="0" normalizeH="0" baseline="3000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,3</a:t>
            </a: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3000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54400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135D2D0A-619B-89CB-6475-20F6C3DE1DF2}"/>
              </a:ext>
            </a:extLst>
          </p:cNvPr>
          <p:cNvSpPr txBox="1">
            <a:spLocks/>
          </p:cNvSpPr>
          <p:nvPr/>
        </p:nvSpPr>
        <p:spPr>
          <a:xfrm>
            <a:off x="584518" y="418621"/>
            <a:ext cx="6263322" cy="84311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1" kern="1200">
                <a:solidFill>
                  <a:srgbClr val="E93C3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E93C3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racterísticas del caso clínic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ED7D31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PARA USO INFORMATIVO DEL PONENTE)</a:t>
            </a:r>
          </a:p>
        </p:txBody>
      </p:sp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494ED1D7-E71D-0633-E3A4-5B609B88627F}"/>
              </a:ext>
            </a:extLst>
          </p:cNvPr>
          <p:cNvSpPr txBox="1">
            <a:spLocks/>
          </p:cNvSpPr>
          <p:nvPr/>
        </p:nvSpPr>
        <p:spPr>
          <a:xfrm>
            <a:off x="819938" y="1460610"/>
            <a:ext cx="10619206" cy="413565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46057" marR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 sz="15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1pPr>
            <a:lvl2pPr marL="627047" indent="-133347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>
              <a:lnSpc>
                <a:spcPct val="120000"/>
              </a:lnSpc>
              <a:spcBef>
                <a:spcPts val="1000"/>
              </a:spcBef>
              <a:defRPr/>
            </a:pPr>
            <a:r>
              <a:rPr lang="es-ES_tradnl" sz="2200">
                <a:latin typeface="Calibri" panose="020F0502020204030204"/>
              </a:rPr>
              <a:t>Pacientes tratados con </a:t>
            </a:r>
            <a:r>
              <a:rPr lang="es-ES_tradnl" sz="2200" err="1">
                <a:latin typeface="Calibri" panose="020F0502020204030204"/>
              </a:rPr>
              <a:t>tirbanibulina</a:t>
            </a:r>
            <a:r>
              <a:rPr lang="es-ES_tradnl" sz="2200">
                <a:latin typeface="Calibri" panose="020F0502020204030204"/>
              </a:rPr>
              <a:t>. </a:t>
            </a:r>
          </a:p>
          <a:p>
            <a:pPr marL="228600" lvl="1">
              <a:lnSpc>
                <a:spcPct val="120000"/>
              </a:lnSpc>
              <a:spcBef>
                <a:spcPts val="1000"/>
              </a:spcBef>
              <a:defRPr/>
            </a:pPr>
            <a:r>
              <a:rPr lang="es-ES_tradnl" sz="2200">
                <a:latin typeface="Calibri" panose="020F0502020204030204"/>
              </a:rPr>
              <a:t>Tanto hombres como mujeres a partir de los 18 años. </a:t>
            </a:r>
          </a:p>
          <a:p>
            <a:pPr marL="228600" lvl="1">
              <a:lnSpc>
                <a:spcPct val="120000"/>
              </a:lnSpc>
              <a:spcBef>
                <a:spcPts val="1000"/>
              </a:spcBef>
              <a:defRPr/>
            </a:pPr>
            <a:r>
              <a:rPr lang="es-ES_tradnl" sz="2200">
                <a:latin typeface="Calibri" panose="020F0502020204030204"/>
              </a:rPr>
              <a:t>Pacientes adultos con queratosis actínica no </a:t>
            </a:r>
            <a:r>
              <a:rPr lang="es-ES_tradnl" sz="2200" err="1">
                <a:latin typeface="Calibri" panose="020F0502020204030204"/>
              </a:rPr>
              <a:t>hiperqueratósica</a:t>
            </a:r>
            <a:r>
              <a:rPr lang="es-ES_tradnl" sz="2200">
                <a:latin typeface="Calibri" panose="020F0502020204030204"/>
              </a:rPr>
              <a:t> y no hipertrófica (grado 1 de Olsen) de la cara o del cuero cabelludo. </a:t>
            </a:r>
          </a:p>
          <a:p>
            <a:pPr marL="228600" lvl="1">
              <a:lnSpc>
                <a:spcPct val="120000"/>
              </a:lnSpc>
              <a:spcBef>
                <a:spcPts val="1000"/>
              </a:spcBef>
              <a:defRPr/>
            </a:pPr>
            <a:r>
              <a:rPr lang="es-ES" sz="2200">
                <a:latin typeface="Calibri" panose="020F0502020204030204"/>
                <a:sym typeface="Nunito Sans"/>
              </a:rPr>
              <a:t>Toda la información debe ser justa y equilibrada, no se debe incluir ninguna información fuera de indicación. Por favor, utilice sólo los principios activos de los medicamentos citados o su forma galénica.</a:t>
            </a:r>
          </a:p>
          <a:p>
            <a:pPr marL="228600" lvl="1">
              <a:lnSpc>
                <a:spcPct val="120000"/>
              </a:lnSpc>
              <a:spcBef>
                <a:spcPts val="1000"/>
              </a:spcBef>
              <a:defRPr/>
            </a:pPr>
            <a:r>
              <a:rPr lang="es-ES" sz="2200">
                <a:latin typeface="Calibri" panose="020F0502020204030204"/>
                <a:sym typeface="Nunito Sans"/>
              </a:rPr>
              <a:t>Proporcione fotos, de antes y después de comenzar el tratamiento con </a:t>
            </a:r>
            <a:r>
              <a:rPr lang="es-ES" sz="2200" err="1">
                <a:latin typeface="Calibri" panose="020F0502020204030204"/>
                <a:sym typeface="Nunito Sans"/>
              </a:rPr>
              <a:t>tirbanibulina</a:t>
            </a:r>
            <a:r>
              <a:rPr lang="es-ES" sz="2200">
                <a:latin typeface="Calibri" panose="020F0502020204030204"/>
              </a:rPr>
              <a:t>, si es posible, en el día de los máximos efectos adversos y el día de la evaluación final.</a:t>
            </a:r>
            <a:endParaRPr lang="es-ES" sz="2200">
              <a:latin typeface="Calibri" panose="020F0502020204030204"/>
              <a:sym typeface="Nunito Sans"/>
            </a:endParaRPr>
          </a:p>
        </p:txBody>
      </p:sp>
    </p:spTree>
    <p:extLst>
      <p:ext uri="{BB962C8B-B14F-4D97-AF65-F5344CB8AC3E}">
        <p14:creationId xmlns:p14="http://schemas.microsoft.com/office/powerpoint/2010/main" val="32538167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219821-B07F-1D74-FD1A-34FB3A5CC5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CASO CLÍNICO PONENTE 1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6F8F137-DA2D-E619-E7A5-2119506B2F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/>
              <a:t>Nombre y Apellidos</a:t>
            </a:r>
          </a:p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A8B9C9E-4CD4-747E-F582-F3178B3147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"/>
              <a:t>Nombre del Hospital</a:t>
            </a:r>
          </a:p>
          <a:p>
            <a:endParaRPr lang="es-ES"/>
          </a:p>
        </p:txBody>
      </p:sp>
      <p:sp>
        <p:nvSpPr>
          <p:cNvPr id="7" name="Triángulo isósceles 6">
            <a:extLst>
              <a:ext uri="{FF2B5EF4-FFF2-40B4-BE49-F238E27FC236}">
                <a16:creationId xmlns:a16="http://schemas.microsoft.com/office/drawing/2014/main" id="{43D5743B-09F3-BC16-565F-21BFD049FAF0}"/>
              </a:ext>
            </a:extLst>
          </p:cNvPr>
          <p:cNvSpPr/>
          <p:nvPr/>
        </p:nvSpPr>
        <p:spPr>
          <a:xfrm rot="16200000">
            <a:off x="2838581" y="2146016"/>
            <a:ext cx="3200404" cy="3145831"/>
          </a:xfrm>
          <a:prstGeom prst="triangle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019718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335CC37-078C-96D7-2255-3198310AC67F}"/>
              </a:ext>
            </a:extLst>
          </p:cNvPr>
          <p:cNvSpPr txBox="1">
            <a:spLocks/>
          </p:cNvSpPr>
          <p:nvPr/>
        </p:nvSpPr>
        <p:spPr>
          <a:xfrm>
            <a:off x="455850" y="155717"/>
            <a:ext cx="10020767" cy="896579"/>
          </a:xfrm>
          <a:prstGeom prst="rect">
            <a:avLst/>
          </a:prstGeom>
        </p:spPr>
        <p:txBody>
          <a:bodyPr anchor="ctr"/>
          <a:lstStyle>
            <a:lvl1pPr marL="0" marR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kern="1200">
                <a:solidFill>
                  <a:srgbClr val="E63D42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2200" b="1" i="0" u="none" strike="noStrike" kern="1200" cap="none" spc="0" normalizeH="0" baseline="0" noProof="0">
                <a:ln>
                  <a:noFill/>
                </a:ln>
                <a:solidFill>
                  <a:srgbClr val="E63D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O CLÍNICO X</a:t>
            </a:r>
            <a:endParaRPr kumimoji="0" lang="es-ES" sz="2200" b="1" i="0" u="none" strike="noStrike" kern="1200" cap="none" spc="0" normalizeH="0" baseline="0" noProof="0">
              <a:ln>
                <a:noFill/>
              </a:ln>
              <a:solidFill>
                <a:srgbClr val="E63D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013D4D6-44A1-D28F-AB78-D16F9A6E63B2}"/>
              </a:ext>
            </a:extLst>
          </p:cNvPr>
          <p:cNvSpPr txBox="1">
            <a:spLocks/>
          </p:cNvSpPr>
          <p:nvPr/>
        </p:nvSpPr>
        <p:spPr>
          <a:xfrm>
            <a:off x="860613" y="1550531"/>
            <a:ext cx="10214641" cy="4135655"/>
          </a:xfrm>
          <a:prstGeom prst="rect">
            <a:avLst/>
          </a:prstGeom>
        </p:spPr>
        <p:txBody>
          <a:bodyPr/>
          <a:lstStyle>
            <a:lvl1pPr marL="246057" marR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 sz="15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1pPr>
            <a:lvl2pPr marL="627047" indent="-133347" algn="l" defTabSz="914377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ad y sexo: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uación laboral:  </a:t>
            </a:r>
          </a:p>
          <a:p>
            <a:pPr marL="0" marR="0" lvl="0" indent="0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s-ES" sz="15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eve explicación (En este apartado es importante describir brevemente al paciente, su situación actual y que sensaciones tiene con la QA y con los tratamientos que ha recibido):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storial clínico: 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lización de la/s lesión/es: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notipo </a:t>
            </a:r>
            <a:r>
              <a:rPr kumimoji="0" lang="es-ES" sz="1500" b="1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tzpatrick</a:t>
            </a: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tamientos previos: 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endParaRPr kumimoji="0" lang="es-ES" sz="15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EDD2E846-847F-0266-A172-27AD679B01AA}"/>
              </a:ext>
            </a:extLst>
          </p:cNvPr>
          <p:cNvSpPr txBox="1"/>
          <p:nvPr/>
        </p:nvSpPr>
        <p:spPr>
          <a:xfrm>
            <a:off x="455850" y="746260"/>
            <a:ext cx="6106245" cy="420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133" b="1" i="0" u="none" strike="noStrike" kern="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cripción del caso: </a:t>
            </a:r>
          </a:p>
        </p:txBody>
      </p:sp>
      <p:sp>
        <p:nvSpPr>
          <p:cNvPr id="6" name="TextBox 32">
            <a:extLst>
              <a:ext uri="{FF2B5EF4-FFF2-40B4-BE49-F238E27FC236}">
                <a16:creationId xmlns:a16="http://schemas.microsoft.com/office/drawing/2014/main" id="{1B39EB60-07B9-85B5-2CDB-6EF7C042B28A}"/>
              </a:ext>
            </a:extLst>
          </p:cNvPr>
          <p:cNvSpPr txBox="1"/>
          <p:nvPr/>
        </p:nvSpPr>
        <p:spPr>
          <a:xfrm>
            <a:off x="1387868" y="6456359"/>
            <a:ext cx="89266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ágenes y caso clínico en práctica clínica real según ficha técnica aportado por el Dr. XXX, no publicado. Almirall no ha intervenido en la recogida ni en la generación de estos datos. </a:t>
            </a:r>
          </a:p>
        </p:txBody>
      </p:sp>
    </p:spTree>
    <p:extLst>
      <p:ext uri="{BB962C8B-B14F-4D97-AF65-F5344CB8AC3E}">
        <p14:creationId xmlns:p14="http://schemas.microsoft.com/office/powerpoint/2010/main" val="38324100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DA4B3B40-ED96-7C7E-0D68-0644111C5CD8}"/>
              </a:ext>
            </a:extLst>
          </p:cNvPr>
          <p:cNvSpPr/>
          <p:nvPr/>
        </p:nvSpPr>
        <p:spPr>
          <a:xfrm>
            <a:off x="6528640" y="382868"/>
            <a:ext cx="2620355" cy="615553"/>
          </a:xfrm>
          <a:prstGeom prst="roundRect">
            <a:avLst/>
          </a:prstGeom>
          <a:solidFill>
            <a:srgbClr val="EAF4F3"/>
          </a:solidFill>
          <a:ln w="12700" cap="flat" cmpd="sng" algn="ctr">
            <a:solidFill>
              <a:srgbClr val="EAF4F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Marcador de texto 1">
            <a:extLst>
              <a:ext uri="{FF2B5EF4-FFF2-40B4-BE49-F238E27FC236}">
                <a16:creationId xmlns:a16="http://schemas.microsoft.com/office/drawing/2014/main" id="{1640B268-2AD6-4DE3-8578-8DD483921637}"/>
              </a:ext>
            </a:extLst>
          </p:cNvPr>
          <p:cNvSpPr txBox="1">
            <a:spLocks/>
          </p:cNvSpPr>
          <p:nvPr/>
        </p:nvSpPr>
        <p:spPr>
          <a:xfrm>
            <a:off x="455850" y="187943"/>
            <a:ext cx="10020767" cy="896579"/>
          </a:xfrm>
          <a:prstGeom prst="rect">
            <a:avLst/>
          </a:prstGeom>
        </p:spPr>
        <p:txBody>
          <a:bodyPr anchor="ctr"/>
          <a:lstStyle>
            <a:lvl1pPr marL="0" marR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kern="1200">
                <a:solidFill>
                  <a:srgbClr val="E63D42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2400" b="1" i="0" u="none" strike="noStrike" kern="1200" cap="none" spc="0" normalizeH="0" baseline="0" noProof="0">
                <a:ln>
                  <a:noFill/>
                </a:ln>
                <a:solidFill>
                  <a:srgbClr val="E63D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o clínico X</a:t>
            </a:r>
            <a:endParaRPr kumimoji="0" lang="es-ES" sz="2200" b="1" i="0" u="none" strike="noStrike" kern="1200" cap="none" spc="0" normalizeH="0" baseline="0" noProof="0">
              <a:ln>
                <a:noFill/>
              </a:ln>
              <a:solidFill>
                <a:srgbClr val="E63D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lecha: a la derecha 3">
            <a:extLst>
              <a:ext uri="{FF2B5EF4-FFF2-40B4-BE49-F238E27FC236}">
                <a16:creationId xmlns:a16="http://schemas.microsoft.com/office/drawing/2014/main" id="{025BC9D5-4E30-9BB2-775B-0727C81F05B7}"/>
              </a:ext>
            </a:extLst>
          </p:cNvPr>
          <p:cNvSpPr/>
          <p:nvPr/>
        </p:nvSpPr>
        <p:spPr>
          <a:xfrm>
            <a:off x="5326459" y="3345597"/>
            <a:ext cx="1516181" cy="387497"/>
          </a:xfrm>
          <a:prstGeom prst="rightArrow">
            <a:avLst/>
          </a:prstGeom>
          <a:solidFill>
            <a:srgbClr val="E8434A"/>
          </a:solidFill>
          <a:ln w="12700" cap="flat" cmpd="sng" algn="ctr">
            <a:solidFill>
              <a:srgbClr val="E843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0" cap="none" spc="0" normalizeH="0" baseline="0" noProof="0">
              <a:ln>
                <a:noFill/>
              </a:ln>
              <a:solidFill>
                <a:srgbClr val="E8434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459B1B2-5BBC-8AEC-A710-049165609333}"/>
              </a:ext>
            </a:extLst>
          </p:cNvPr>
          <p:cNvSpPr txBox="1"/>
          <p:nvPr/>
        </p:nvSpPr>
        <p:spPr>
          <a:xfrm>
            <a:off x="5279205" y="2419437"/>
            <a:ext cx="16106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rbanibulina 1% (5 días de tratamiento)</a:t>
            </a:r>
            <a:endParaRPr kumimoji="0" lang="es-ES" sz="1600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redondeado 6">
            <a:extLst>
              <a:ext uri="{FF2B5EF4-FFF2-40B4-BE49-F238E27FC236}">
                <a16:creationId xmlns:a16="http://schemas.microsoft.com/office/drawing/2014/main" id="{03663127-F9C9-B286-3994-96A7BCF8CDF7}"/>
              </a:ext>
            </a:extLst>
          </p:cNvPr>
          <p:cNvSpPr/>
          <p:nvPr/>
        </p:nvSpPr>
        <p:spPr>
          <a:xfrm>
            <a:off x="816592" y="1551272"/>
            <a:ext cx="937035" cy="228611"/>
          </a:xfrm>
          <a:prstGeom prst="roundRect">
            <a:avLst/>
          </a:prstGeom>
          <a:solidFill>
            <a:srgbClr val="FFFFFF"/>
          </a:solidFill>
          <a:ln w="12700">
            <a:solidFill>
              <a:srgbClr val="002855"/>
            </a:solidFill>
          </a:ln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333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asal</a:t>
            </a:r>
            <a:endParaRPr kumimoji="0" lang="es-ES" sz="1333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6">
            <a:extLst>
              <a:ext uri="{FF2B5EF4-FFF2-40B4-BE49-F238E27FC236}">
                <a16:creationId xmlns:a16="http://schemas.microsoft.com/office/drawing/2014/main" id="{F629A2E9-70F9-BFF1-4DCD-B7B539E1F160}"/>
              </a:ext>
            </a:extLst>
          </p:cNvPr>
          <p:cNvSpPr/>
          <p:nvPr/>
        </p:nvSpPr>
        <p:spPr>
          <a:xfrm>
            <a:off x="7321314" y="1523368"/>
            <a:ext cx="1261769" cy="228611"/>
          </a:xfrm>
          <a:prstGeom prst="roundRect">
            <a:avLst/>
          </a:prstGeom>
          <a:solidFill>
            <a:srgbClr val="FFFFFF"/>
          </a:solidFill>
          <a:ln w="12700">
            <a:solidFill>
              <a:srgbClr val="002855"/>
            </a:solidFill>
          </a:ln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333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ía 57</a:t>
            </a:r>
            <a:endParaRPr kumimoji="0" lang="es-ES" sz="1333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FA956992-F2AD-CAAC-0EE1-CF616819958F}"/>
              </a:ext>
            </a:extLst>
          </p:cNvPr>
          <p:cNvSpPr txBox="1"/>
          <p:nvPr/>
        </p:nvSpPr>
        <p:spPr>
          <a:xfrm>
            <a:off x="2036526" y="5062751"/>
            <a:ext cx="1610692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1" i="0" u="none" strike="noStrike" kern="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º</a:t>
            </a:r>
            <a:r>
              <a:rPr kumimoji="0" lang="es-ES_tradnl" sz="16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esiones: </a:t>
            </a:r>
            <a:endParaRPr kumimoji="0" lang="es-ES" sz="1600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444707B-DE11-68F2-85D9-13B8BC674316}"/>
              </a:ext>
            </a:extLst>
          </p:cNvPr>
          <p:cNvSpPr txBox="1"/>
          <p:nvPr/>
        </p:nvSpPr>
        <p:spPr>
          <a:xfrm>
            <a:off x="8398274" y="5079391"/>
            <a:ext cx="1610692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1" i="0" u="none" strike="noStrike" kern="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º</a:t>
            </a:r>
            <a:r>
              <a:rPr kumimoji="0" lang="es-ES_tradnl" sz="16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esiones: </a:t>
            </a:r>
            <a:endParaRPr kumimoji="0" lang="es-ES" sz="1600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DEF307F-8B39-FDA8-AF24-FD9FB29BFEEE}"/>
              </a:ext>
            </a:extLst>
          </p:cNvPr>
          <p:cNvSpPr txBox="1"/>
          <p:nvPr/>
        </p:nvSpPr>
        <p:spPr>
          <a:xfrm>
            <a:off x="6528640" y="382868"/>
            <a:ext cx="2620355" cy="61555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centaje de reducción de lesiones: XX%</a:t>
            </a:r>
            <a:endParaRPr kumimoji="0" lang="es-ES" sz="1600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32">
            <a:extLst>
              <a:ext uri="{FF2B5EF4-FFF2-40B4-BE49-F238E27FC236}">
                <a16:creationId xmlns:a16="http://schemas.microsoft.com/office/drawing/2014/main" id="{69DEE9B1-0FE9-7976-E2D8-9D2221EE9CF9}"/>
              </a:ext>
            </a:extLst>
          </p:cNvPr>
          <p:cNvSpPr txBox="1"/>
          <p:nvPr/>
        </p:nvSpPr>
        <p:spPr>
          <a:xfrm>
            <a:off x="1553836" y="6427345"/>
            <a:ext cx="906142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ágenes y caso clínico en práctica clínica real según ficha técnica aportado por el Dr. XXX, no publicado. Almirall no ha intervenido en la recogida ni en la generación de estos datos. </a:t>
            </a:r>
          </a:p>
        </p:txBody>
      </p:sp>
    </p:spTree>
    <p:extLst>
      <p:ext uri="{BB962C8B-B14F-4D97-AF65-F5344CB8AC3E}">
        <p14:creationId xmlns:p14="http://schemas.microsoft.com/office/powerpoint/2010/main" val="11574773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375356D-FAB8-BA23-AEAA-B0364903C449}"/>
              </a:ext>
            </a:extLst>
          </p:cNvPr>
          <p:cNvSpPr txBox="1">
            <a:spLocks/>
          </p:cNvSpPr>
          <p:nvPr/>
        </p:nvSpPr>
        <p:spPr>
          <a:xfrm>
            <a:off x="455850" y="187943"/>
            <a:ext cx="10020767" cy="896579"/>
          </a:xfrm>
          <a:prstGeom prst="rect">
            <a:avLst/>
          </a:prstGeom>
        </p:spPr>
        <p:txBody>
          <a:bodyPr anchor="ctr"/>
          <a:lstStyle>
            <a:lvl1pPr marL="0" marR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kern="1200">
                <a:solidFill>
                  <a:srgbClr val="E63D42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2400" b="1" i="0" u="none" strike="noStrike" kern="1200" cap="none" spc="0" normalizeH="0" baseline="0" noProof="0">
                <a:ln>
                  <a:noFill/>
                </a:ln>
                <a:solidFill>
                  <a:srgbClr val="E63D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o clínico X</a:t>
            </a:r>
            <a:endParaRPr kumimoji="0" lang="es-ES" sz="2200" b="1" i="0" u="none" strike="noStrike" kern="1200" cap="none" spc="0" normalizeH="0" baseline="0" noProof="0">
              <a:ln>
                <a:noFill/>
              </a:ln>
              <a:solidFill>
                <a:srgbClr val="E63D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32">
            <a:extLst>
              <a:ext uri="{FF2B5EF4-FFF2-40B4-BE49-F238E27FC236}">
                <a16:creationId xmlns:a16="http://schemas.microsoft.com/office/drawing/2014/main" id="{E5D99691-760D-7CAE-CCFC-87552B4B1BFC}"/>
              </a:ext>
            </a:extLst>
          </p:cNvPr>
          <p:cNvSpPr txBox="1"/>
          <p:nvPr/>
        </p:nvSpPr>
        <p:spPr>
          <a:xfrm>
            <a:off x="1488285" y="6434293"/>
            <a:ext cx="921542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ágenes y caso clínico en práctica clínica real según ficha técnica aportado por el Dr. XXX, no publicado. Almirall no ha intervenido en la recogida ni en la generación de estos datos. </a:t>
            </a:r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id="{125D61D7-EAB0-46E1-C341-8AFB4C46B165}"/>
              </a:ext>
            </a:extLst>
          </p:cNvPr>
          <p:cNvGraphicFramePr/>
          <p:nvPr/>
        </p:nvGraphicFramePr>
        <p:xfrm>
          <a:off x="544620" y="1356336"/>
          <a:ext cx="10743393" cy="367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68525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"/>
              <a:t>Exoneración de responsabilidad y uso de la presentació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9E01A7F-3A05-9AD4-8BC4-1A94937FE3E8}"/>
              </a:ext>
            </a:extLst>
          </p:cNvPr>
          <p:cNvSpPr txBox="1">
            <a:spLocks/>
          </p:cNvSpPr>
          <p:nvPr/>
        </p:nvSpPr>
        <p:spPr>
          <a:xfrm>
            <a:off x="455850" y="1388533"/>
            <a:ext cx="11372849" cy="430106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indent="-228594" algn="just" defTabSz="914377">
              <a:spcBef>
                <a:spcPts val="1000"/>
              </a:spcBef>
            </a:pPr>
            <a:r>
              <a:rPr lang="es-ES" sz="1333" i="1">
                <a:solidFill>
                  <a:srgbClr val="002060"/>
                </a:solidFill>
                <a:latin typeface="Arial"/>
                <a:ea typeface="Noto Sans" panose="020B0502040504020204" pitchFamily="34"/>
                <a:cs typeface="Noto Sans" panose="020B0502040504020204" pitchFamily="34"/>
              </a:rPr>
              <a:t>Este documento (la “Presentación”) ha sido preparado por Almirall, S.A. (“Almirall”) exclusivamente para su uso en presentaciones y/o formaciones dirigidas a la comunidad científica (“Uso Permitido”). La divulgación, difusión o uso de este documento, para un uso distinto al Uso Permitido, sin la autorización previa, expresa y por escrito de la Compañía está prohibida.​</a:t>
            </a:r>
          </a:p>
          <a:p>
            <a:pPr marL="228594" indent="-228594" algn="just" defTabSz="914377">
              <a:spcBef>
                <a:spcPts val="1000"/>
              </a:spcBef>
            </a:pPr>
            <a:r>
              <a:rPr lang="es-ES" sz="1333" i="1">
                <a:solidFill>
                  <a:srgbClr val="002060"/>
                </a:solidFill>
                <a:latin typeface="Arial"/>
                <a:ea typeface="Noto Sans" panose="020B0502040504020204" pitchFamily="34"/>
                <a:cs typeface="Noto Sans" panose="020B0502040504020204" pitchFamily="34"/>
              </a:rPr>
              <a:t>Almirall no otorga, ni implícita ni explícitamente, ninguna garantía de imparcialidad, precisión, integridad o exactitud de la información, opinión y declaraciones expresadas en dicha Presentación o en discusiones que puedan tener lugar durante su utilización.​</a:t>
            </a:r>
          </a:p>
          <a:p>
            <a:pPr marL="228594" indent="-228594" algn="just" defTabSz="914377">
              <a:spcBef>
                <a:spcPts val="1000"/>
              </a:spcBef>
            </a:pPr>
            <a:r>
              <a:rPr lang="es-ES" sz="1333" i="1">
                <a:solidFill>
                  <a:srgbClr val="002060"/>
                </a:solidFill>
                <a:latin typeface="Arial"/>
                <a:ea typeface="Noto Sans" panose="020B0502040504020204" pitchFamily="34"/>
                <a:cs typeface="Noto Sans" panose="020B0502040504020204" pitchFamily="34"/>
              </a:rPr>
              <a:t>Tanto la Presentación como los contenidos incluidos en la misma (con carácter enunciativo, que no limitativo, imágenes, diseño gráfico, logos, textos, gráficos, ilustraciones, fotografías, y cualquier otro material susceptible de protección) son titularidad exclusiva de Almirall o Almirall tiene sobre ellos la correspondiente autorización de uso. ​</a:t>
            </a:r>
          </a:p>
          <a:p>
            <a:pPr marL="228594" indent="-228594" algn="just" defTabSz="914377">
              <a:spcBef>
                <a:spcPts val="1000"/>
              </a:spcBef>
            </a:pPr>
            <a:r>
              <a:rPr lang="es-ES" sz="1333" i="1">
                <a:solidFill>
                  <a:srgbClr val="002060"/>
                </a:solidFill>
                <a:latin typeface="Arial"/>
                <a:ea typeface="Noto Sans" panose="020B0502040504020204" pitchFamily="34"/>
                <a:cs typeface="Noto Sans" panose="020B0502040504020204" pitchFamily="34"/>
              </a:rPr>
              <a:t>Igualmente, todos los nombres comerciales, marcas o signos distintivos de cualquier clase contenidos en la Presentación están protegidos por la Ley.​</a:t>
            </a:r>
          </a:p>
          <a:p>
            <a:pPr marL="228594" indent="-228594" algn="just" defTabSz="914377">
              <a:spcBef>
                <a:spcPts val="1000"/>
              </a:spcBef>
            </a:pPr>
            <a:r>
              <a:rPr lang="es-ES" sz="1333" i="1">
                <a:solidFill>
                  <a:srgbClr val="002060"/>
                </a:solidFill>
                <a:latin typeface="Arial"/>
                <a:ea typeface="Noto Sans" panose="020B0502040504020204" pitchFamily="34"/>
                <a:cs typeface="Noto Sans" panose="020B0502040504020204" pitchFamily="34"/>
              </a:rPr>
              <a:t>La reproducción, distribución, comercialización, transformación, comunicación pública y, en general, cualquier otra forma de explotación, por cualquier procedimiento, de todo o parte de la Presentación  o de la información contenida en la misma con fines distintos al Uso Permitido, podría constituir una infracción de los derechos de Propiedad Intelectual y/o Industrial de Almirall o del titular de los mismos y podría dar lugar al ejercicio de cuantas acciones judiciales o extrajudiciales pudieran corresponder en el ejercicio de sus derechos. Todo ello salvo que, previa solicitud, Almirall haya autorizado expresamente y por escrito el uso de los contenidos para un fin específico, en cuyo caso, el destinatario se compromete a citar la Almirall como fuente titular del contenido.​</a:t>
            </a:r>
          </a:p>
          <a:p>
            <a:pPr marL="228594" indent="-228594" defTabSz="914377">
              <a:spcBef>
                <a:spcPts val="1000"/>
              </a:spcBef>
            </a:pPr>
            <a:endParaRPr lang="es-ES" sz="1333" i="1">
              <a:solidFill>
                <a:srgbClr val="6F6F6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55032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AA77EFD1-91FE-16DF-97F6-521A663889B9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048500" cy="6858000"/>
          </a:xfrm>
        </p:spPr>
      </p:pic>
      <p:pic>
        <p:nvPicPr>
          <p:cNvPr id="5" name="Imagen 4" descr="Icono&#10;&#10;Descripción generada automáticamente">
            <a:extLst>
              <a:ext uri="{FF2B5EF4-FFF2-40B4-BE49-F238E27FC236}">
                <a16:creationId xmlns:a16="http://schemas.microsoft.com/office/drawing/2014/main" id="{7900800B-4908-1DD5-DD00-B4606448878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759"/>
          <a:stretch/>
        </p:blipFill>
        <p:spPr>
          <a:xfrm>
            <a:off x="2896666" y="0"/>
            <a:ext cx="9295334" cy="6858000"/>
          </a:xfrm>
          <a:prstGeom prst="rect">
            <a:avLst/>
          </a:prstGeom>
        </p:spPr>
      </p:pic>
      <p:pic>
        <p:nvPicPr>
          <p:cNvPr id="7" name="Gráfico 6">
            <a:extLst>
              <a:ext uri="{FF2B5EF4-FFF2-40B4-BE49-F238E27FC236}">
                <a16:creationId xmlns:a16="http://schemas.microsoft.com/office/drawing/2014/main" id="{D75CBEEA-0CCB-373F-4F76-D53BEEC3A75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6597" r="19800" b="17542"/>
          <a:stretch/>
        </p:blipFill>
        <p:spPr>
          <a:xfrm>
            <a:off x="10549263" y="5926412"/>
            <a:ext cx="1311153" cy="715020"/>
          </a:xfrm>
          <a:prstGeom prst="rect">
            <a:avLst/>
          </a:prstGeom>
        </p:spPr>
      </p:pic>
      <p:pic>
        <p:nvPicPr>
          <p:cNvPr id="9" name="Imagen 8" descr="Logotipo&#10;&#10;Descripción generada automáticamente">
            <a:extLst>
              <a:ext uri="{FF2B5EF4-FFF2-40B4-BE49-F238E27FC236}">
                <a16:creationId xmlns:a16="http://schemas.microsoft.com/office/drawing/2014/main" id="{068A5F8C-DE68-A4CC-D051-8205B351E45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4033" y="34092"/>
            <a:ext cx="2542516" cy="1237693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id="{2AED2613-30D7-AFCD-2BBD-C0AF0F32AAA0}"/>
              </a:ext>
            </a:extLst>
          </p:cNvPr>
          <p:cNvSpPr txBox="1">
            <a:spLocks/>
          </p:cNvSpPr>
          <p:nvPr/>
        </p:nvSpPr>
        <p:spPr>
          <a:xfrm>
            <a:off x="6816410" y="3296095"/>
            <a:ext cx="4701703" cy="10692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es CASO CLÍNICO PONENTE 1</a:t>
            </a:r>
          </a:p>
        </p:txBody>
      </p:sp>
    </p:spTree>
    <p:extLst>
      <p:ext uri="{BB962C8B-B14F-4D97-AF65-F5344CB8AC3E}">
        <p14:creationId xmlns:p14="http://schemas.microsoft.com/office/powerpoint/2010/main" val="27594775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8219821-B07F-1D74-FD1A-34FB3A5CC5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CASO CLÍNICO PONENTE 2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6F8F137-DA2D-E619-E7A5-2119506B2F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/>
              <a:t>Nombre y Apellidos</a:t>
            </a:r>
          </a:p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A8B9C9E-4CD4-747E-F582-F3178B3147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"/>
              <a:t>Nombre del Hospital</a:t>
            </a:r>
          </a:p>
          <a:p>
            <a:endParaRPr lang="es-ES"/>
          </a:p>
        </p:txBody>
      </p:sp>
      <p:sp>
        <p:nvSpPr>
          <p:cNvPr id="7" name="Triángulo isósceles 6">
            <a:extLst>
              <a:ext uri="{FF2B5EF4-FFF2-40B4-BE49-F238E27FC236}">
                <a16:creationId xmlns:a16="http://schemas.microsoft.com/office/drawing/2014/main" id="{43D5743B-09F3-BC16-565F-21BFD049FAF0}"/>
              </a:ext>
            </a:extLst>
          </p:cNvPr>
          <p:cNvSpPr/>
          <p:nvPr/>
        </p:nvSpPr>
        <p:spPr>
          <a:xfrm rot="16200000">
            <a:off x="2838581" y="2146016"/>
            <a:ext cx="3200404" cy="3145831"/>
          </a:xfrm>
          <a:prstGeom prst="triangle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46283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335CC37-078C-96D7-2255-3198310AC67F}"/>
              </a:ext>
            </a:extLst>
          </p:cNvPr>
          <p:cNvSpPr txBox="1">
            <a:spLocks/>
          </p:cNvSpPr>
          <p:nvPr/>
        </p:nvSpPr>
        <p:spPr>
          <a:xfrm>
            <a:off x="455850" y="155717"/>
            <a:ext cx="10020767" cy="896579"/>
          </a:xfrm>
          <a:prstGeom prst="rect">
            <a:avLst/>
          </a:prstGeom>
        </p:spPr>
        <p:txBody>
          <a:bodyPr anchor="ctr"/>
          <a:lstStyle>
            <a:lvl1pPr marL="0" marR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kern="1200">
                <a:solidFill>
                  <a:srgbClr val="E63D42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2200" b="1" i="0" u="none" strike="noStrike" kern="1200" cap="none" spc="0" normalizeH="0" baseline="0" noProof="0">
                <a:ln>
                  <a:noFill/>
                </a:ln>
                <a:solidFill>
                  <a:srgbClr val="E63D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O CLÍNICO X</a:t>
            </a:r>
            <a:endParaRPr kumimoji="0" lang="es-ES" sz="2200" b="1" i="0" u="none" strike="noStrike" kern="1200" cap="none" spc="0" normalizeH="0" baseline="0" noProof="0">
              <a:ln>
                <a:noFill/>
              </a:ln>
              <a:solidFill>
                <a:srgbClr val="E63D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013D4D6-44A1-D28F-AB78-D16F9A6E63B2}"/>
              </a:ext>
            </a:extLst>
          </p:cNvPr>
          <p:cNvSpPr txBox="1">
            <a:spLocks/>
          </p:cNvSpPr>
          <p:nvPr/>
        </p:nvSpPr>
        <p:spPr>
          <a:xfrm>
            <a:off x="860613" y="1550531"/>
            <a:ext cx="10214641" cy="4135655"/>
          </a:xfrm>
          <a:prstGeom prst="rect">
            <a:avLst/>
          </a:prstGeom>
        </p:spPr>
        <p:txBody>
          <a:bodyPr/>
          <a:lstStyle>
            <a:lvl1pPr marL="246057" marR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 sz="15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1pPr>
            <a:lvl2pPr marL="627047" indent="-133347" algn="l" defTabSz="914377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ad y sexo: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uación laboral:  </a:t>
            </a:r>
          </a:p>
          <a:p>
            <a:pPr marL="0" marR="0" lvl="0" indent="0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s-ES" sz="15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eve explicación (En este apartado es importante describir brevemente al paciente, su situación actual y que sensaciones tiene con la QA y con los tratamientos que ha recibido):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storial clínico: 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lización de la/s lesión/es: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notipo </a:t>
            </a:r>
            <a:r>
              <a:rPr kumimoji="0" lang="es-ES" sz="1500" b="1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tzpatrick</a:t>
            </a: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tamientos previos: 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endParaRPr kumimoji="0" lang="es-ES" sz="15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EDD2E846-847F-0266-A172-27AD679B01AA}"/>
              </a:ext>
            </a:extLst>
          </p:cNvPr>
          <p:cNvSpPr txBox="1"/>
          <p:nvPr/>
        </p:nvSpPr>
        <p:spPr>
          <a:xfrm>
            <a:off x="455850" y="746260"/>
            <a:ext cx="6106245" cy="420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133" b="1" i="0" u="none" strike="noStrike" kern="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</a:rPr>
              <a:t>Descripción del caso: </a:t>
            </a:r>
          </a:p>
        </p:txBody>
      </p:sp>
      <p:sp>
        <p:nvSpPr>
          <p:cNvPr id="6" name="TextBox 32">
            <a:extLst>
              <a:ext uri="{FF2B5EF4-FFF2-40B4-BE49-F238E27FC236}">
                <a16:creationId xmlns:a16="http://schemas.microsoft.com/office/drawing/2014/main" id="{1B39EB60-07B9-85B5-2CDB-6EF7C042B28A}"/>
              </a:ext>
            </a:extLst>
          </p:cNvPr>
          <p:cNvSpPr txBox="1"/>
          <p:nvPr/>
        </p:nvSpPr>
        <p:spPr>
          <a:xfrm>
            <a:off x="1387868" y="6456359"/>
            <a:ext cx="89266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mágenes y caso clínico en práctica clínica real según ficha técnica aportado por el Dr. XXX, no publicado. Almirall no ha intervenido en la recogida ni en la generación de estos datos. </a:t>
            </a:r>
          </a:p>
        </p:txBody>
      </p:sp>
    </p:spTree>
    <p:extLst>
      <p:ext uri="{BB962C8B-B14F-4D97-AF65-F5344CB8AC3E}">
        <p14:creationId xmlns:p14="http://schemas.microsoft.com/office/powerpoint/2010/main" val="2244367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DA4B3B40-ED96-7C7E-0D68-0644111C5CD8}"/>
              </a:ext>
            </a:extLst>
          </p:cNvPr>
          <p:cNvSpPr/>
          <p:nvPr/>
        </p:nvSpPr>
        <p:spPr>
          <a:xfrm>
            <a:off x="6528640" y="382868"/>
            <a:ext cx="2620355" cy="615553"/>
          </a:xfrm>
          <a:prstGeom prst="roundRect">
            <a:avLst/>
          </a:prstGeom>
          <a:solidFill>
            <a:srgbClr val="EAF4F3"/>
          </a:solidFill>
          <a:ln w="12700" cap="flat" cmpd="sng" algn="ctr">
            <a:solidFill>
              <a:srgbClr val="EAF4F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Marcador de texto 1">
            <a:extLst>
              <a:ext uri="{FF2B5EF4-FFF2-40B4-BE49-F238E27FC236}">
                <a16:creationId xmlns:a16="http://schemas.microsoft.com/office/drawing/2014/main" id="{1640B268-2AD6-4DE3-8578-8DD483921637}"/>
              </a:ext>
            </a:extLst>
          </p:cNvPr>
          <p:cNvSpPr txBox="1">
            <a:spLocks/>
          </p:cNvSpPr>
          <p:nvPr/>
        </p:nvSpPr>
        <p:spPr>
          <a:xfrm>
            <a:off x="455850" y="187943"/>
            <a:ext cx="10020767" cy="896579"/>
          </a:xfrm>
          <a:prstGeom prst="rect">
            <a:avLst/>
          </a:prstGeom>
        </p:spPr>
        <p:txBody>
          <a:bodyPr anchor="ctr"/>
          <a:lstStyle>
            <a:lvl1pPr marL="0" marR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kern="1200">
                <a:solidFill>
                  <a:srgbClr val="E63D42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2400" b="1" i="0" u="none" strike="noStrike" kern="1200" cap="none" spc="0" normalizeH="0" baseline="0" noProof="0">
                <a:ln>
                  <a:noFill/>
                </a:ln>
                <a:solidFill>
                  <a:srgbClr val="E63D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o clínico X</a:t>
            </a:r>
            <a:endParaRPr kumimoji="0" lang="es-ES" sz="2200" b="1" i="0" u="none" strike="noStrike" kern="1200" cap="none" spc="0" normalizeH="0" baseline="0" noProof="0">
              <a:ln>
                <a:noFill/>
              </a:ln>
              <a:solidFill>
                <a:srgbClr val="E63D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lecha: a la derecha 3">
            <a:extLst>
              <a:ext uri="{FF2B5EF4-FFF2-40B4-BE49-F238E27FC236}">
                <a16:creationId xmlns:a16="http://schemas.microsoft.com/office/drawing/2014/main" id="{025BC9D5-4E30-9BB2-775B-0727C81F05B7}"/>
              </a:ext>
            </a:extLst>
          </p:cNvPr>
          <p:cNvSpPr/>
          <p:nvPr/>
        </p:nvSpPr>
        <p:spPr>
          <a:xfrm>
            <a:off x="5326459" y="3345597"/>
            <a:ext cx="1516181" cy="387497"/>
          </a:xfrm>
          <a:prstGeom prst="rightArrow">
            <a:avLst/>
          </a:prstGeom>
          <a:solidFill>
            <a:srgbClr val="E8434A"/>
          </a:solidFill>
          <a:ln w="12700" cap="flat" cmpd="sng" algn="ctr">
            <a:solidFill>
              <a:srgbClr val="E843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0" cap="none" spc="0" normalizeH="0" baseline="0" noProof="0">
              <a:ln>
                <a:noFill/>
              </a:ln>
              <a:solidFill>
                <a:srgbClr val="E8434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459B1B2-5BBC-8AEC-A710-049165609333}"/>
              </a:ext>
            </a:extLst>
          </p:cNvPr>
          <p:cNvSpPr txBox="1"/>
          <p:nvPr/>
        </p:nvSpPr>
        <p:spPr>
          <a:xfrm>
            <a:off x="5279205" y="2419437"/>
            <a:ext cx="16106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Tirbanibulina 1% (5 días de tratamiento)</a:t>
            </a:r>
            <a:endParaRPr kumimoji="0" lang="es-ES" sz="1600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</a:endParaRPr>
          </a:p>
        </p:txBody>
      </p:sp>
      <p:sp>
        <p:nvSpPr>
          <p:cNvPr id="6" name="Rectángulo redondeado 6">
            <a:extLst>
              <a:ext uri="{FF2B5EF4-FFF2-40B4-BE49-F238E27FC236}">
                <a16:creationId xmlns:a16="http://schemas.microsoft.com/office/drawing/2014/main" id="{03663127-F9C9-B286-3994-96A7BCF8CDF7}"/>
              </a:ext>
            </a:extLst>
          </p:cNvPr>
          <p:cNvSpPr/>
          <p:nvPr/>
        </p:nvSpPr>
        <p:spPr>
          <a:xfrm>
            <a:off x="816592" y="1551272"/>
            <a:ext cx="937035" cy="228611"/>
          </a:xfrm>
          <a:prstGeom prst="roundRect">
            <a:avLst/>
          </a:prstGeom>
          <a:solidFill>
            <a:srgbClr val="FFFFFF"/>
          </a:solidFill>
          <a:ln w="12700">
            <a:solidFill>
              <a:srgbClr val="002855"/>
            </a:solidFill>
          </a:ln>
        </p:spPr>
        <p:txBody>
          <a:bodyPr wrap="none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333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cs typeface="Arial" panose="020B0604020202020204" pitchFamily="34" charset="0"/>
              </a:rPr>
              <a:t>Basal</a:t>
            </a:r>
            <a:endParaRPr kumimoji="0" lang="es-ES" sz="1333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7" name="Rectángulo redondeado 6">
            <a:extLst>
              <a:ext uri="{FF2B5EF4-FFF2-40B4-BE49-F238E27FC236}">
                <a16:creationId xmlns:a16="http://schemas.microsoft.com/office/drawing/2014/main" id="{F629A2E9-70F9-BFF1-4DCD-B7B539E1F160}"/>
              </a:ext>
            </a:extLst>
          </p:cNvPr>
          <p:cNvSpPr/>
          <p:nvPr/>
        </p:nvSpPr>
        <p:spPr>
          <a:xfrm>
            <a:off x="7321314" y="1523368"/>
            <a:ext cx="1261769" cy="228611"/>
          </a:xfrm>
          <a:prstGeom prst="roundRect">
            <a:avLst/>
          </a:prstGeom>
          <a:solidFill>
            <a:srgbClr val="FFFFFF"/>
          </a:solidFill>
          <a:ln w="12700">
            <a:solidFill>
              <a:srgbClr val="002855"/>
            </a:solidFill>
          </a:ln>
        </p:spPr>
        <p:txBody>
          <a:bodyPr wrap="none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333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cs typeface="Arial" panose="020B0604020202020204" pitchFamily="34" charset="0"/>
              </a:rPr>
              <a:t>Día 57</a:t>
            </a:r>
            <a:endParaRPr kumimoji="0" lang="es-ES" sz="1333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FA956992-F2AD-CAAC-0EE1-CF616819958F}"/>
              </a:ext>
            </a:extLst>
          </p:cNvPr>
          <p:cNvSpPr txBox="1"/>
          <p:nvPr/>
        </p:nvSpPr>
        <p:spPr>
          <a:xfrm>
            <a:off x="2036526" y="5062751"/>
            <a:ext cx="1610692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1" i="0" u="none" strike="noStrike" kern="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Nº</a:t>
            </a:r>
            <a:r>
              <a:rPr kumimoji="0" lang="es-ES_tradnl" sz="16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 lesiones: </a:t>
            </a:r>
            <a:endParaRPr kumimoji="0" lang="es-ES" sz="1600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444707B-DE11-68F2-85D9-13B8BC674316}"/>
              </a:ext>
            </a:extLst>
          </p:cNvPr>
          <p:cNvSpPr txBox="1"/>
          <p:nvPr/>
        </p:nvSpPr>
        <p:spPr>
          <a:xfrm>
            <a:off x="8398274" y="5079391"/>
            <a:ext cx="1610692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1" i="0" u="none" strike="noStrike" kern="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Nº</a:t>
            </a:r>
            <a:r>
              <a:rPr kumimoji="0" lang="es-ES_tradnl" sz="16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 lesiones: </a:t>
            </a:r>
            <a:endParaRPr kumimoji="0" lang="es-ES" sz="1600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DEF307F-8B39-FDA8-AF24-FD9FB29BFEEE}"/>
              </a:ext>
            </a:extLst>
          </p:cNvPr>
          <p:cNvSpPr txBox="1"/>
          <p:nvPr/>
        </p:nvSpPr>
        <p:spPr>
          <a:xfrm>
            <a:off x="6528640" y="382868"/>
            <a:ext cx="2620355" cy="61555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Porcentaje de reducción de lesiones: XX%</a:t>
            </a:r>
            <a:endParaRPr kumimoji="0" lang="es-ES" sz="1600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</a:endParaRPr>
          </a:p>
        </p:txBody>
      </p:sp>
      <p:sp>
        <p:nvSpPr>
          <p:cNvPr id="11" name="TextBox 32">
            <a:extLst>
              <a:ext uri="{FF2B5EF4-FFF2-40B4-BE49-F238E27FC236}">
                <a16:creationId xmlns:a16="http://schemas.microsoft.com/office/drawing/2014/main" id="{69DEE9B1-0FE9-7976-E2D8-9D2221EE9CF9}"/>
              </a:ext>
            </a:extLst>
          </p:cNvPr>
          <p:cNvSpPr txBox="1"/>
          <p:nvPr/>
        </p:nvSpPr>
        <p:spPr>
          <a:xfrm>
            <a:off x="1553836" y="6427345"/>
            <a:ext cx="906142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mágenes y caso clínico en práctica clínica real según ficha técnica aportado por el Dr. XXX, no publicado. Almirall no ha intervenido en la recogida ni en la generación de estos datos. </a:t>
            </a:r>
          </a:p>
        </p:txBody>
      </p:sp>
    </p:spTree>
    <p:extLst>
      <p:ext uri="{BB962C8B-B14F-4D97-AF65-F5344CB8AC3E}">
        <p14:creationId xmlns:p14="http://schemas.microsoft.com/office/powerpoint/2010/main" val="39741532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375356D-FAB8-BA23-AEAA-B0364903C449}"/>
              </a:ext>
            </a:extLst>
          </p:cNvPr>
          <p:cNvSpPr txBox="1">
            <a:spLocks/>
          </p:cNvSpPr>
          <p:nvPr/>
        </p:nvSpPr>
        <p:spPr>
          <a:xfrm>
            <a:off x="455850" y="187943"/>
            <a:ext cx="10020767" cy="896579"/>
          </a:xfrm>
          <a:prstGeom prst="rect">
            <a:avLst/>
          </a:prstGeom>
        </p:spPr>
        <p:txBody>
          <a:bodyPr anchor="ctr"/>
          <a:lstStyle>
            <a:lvl1pPr marL="0" marR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kern="1200">
                <a:solidFill>
                  <a:srgbClr val="E63D42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2400" b="1" i="0" u="none" strike="noStrike" kern="1200" cap="none" spc="0" normalizeH="0" baseline="0" noProof="0">
                <a:ln>
                  <a:noFill/>
                </a:ln>
                <a:solidFill>
                  <a:srgbClr val="E63D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o clínico X</a:t>
            </a:r>
            <a:endParaRPr kumimoji="0" lang="es-ES" sz="2200" b="1" i="0" u="none" strike="noStrike" kern="1200" cap="none" spc="0" normalizeH="0" baseline="0" noProof="0">
              <a:ln>
                <a:noFill/>
              </a:ln>
              <a:solidFill>
                <a:srgbClr val="E63D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32">
            <a:extLst>
              <a:ext uri="{FF2B5EF4-FFF2-40B4-BE49-F238E27FC236}">
                <a16:creationId xmlns:a16="http://schemas.microsoft.com/office/drawing/2014/main" id="{E5D99691-760D-7CAE-CCFC-87552B4B1BFC}"/>
              </a:ext>
            </a:extLst>
          </p:cNvPr>
          <p:cNvSpPr txBox="1"/>
          <p:nvPr/>
        </p:nvSpPr>
        <p:spPr>
          <a:xfrm>
            <a:off x="1488285" y="6434293"/>
            <a:ext cx="921542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mágenes y caso clínico en práctica clínica real según ficha técnica aportado por el Dr. XXX, no publicado. Almirall no ha intervenido en la recogida ni en la generación de estos datos. </a:t>
            </a:r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id="{125D61D7-EAB0-46E1-C341-8AFB4C46B165}"/>
              </a:ext>
            </a:extLst>
          </p:cNvPr>
          <p:cNvGraphicFramePr/>
          <p:nvPr/>
        </p:nvGraphicFramePr>
        <p:xfrm>
          <a:off x="544620" y="1356336"/>
          <a:ext cx="10743393" cy="367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081630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ción de imagen 5">
            <a:extLst>
              <a:ext uri="{FF2B5EF4-FFF2-40B4-BE49-F238E27FC236}">
                <a16:creationId xmlns:a16="http://schemas.microsoft.com/office/drawing/2014/main" id="{AA77EFD1-91FE-16DF-97F6-521A663889B9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048500" cy="6858000"/>
          </a:xfrm>
        </p:spPr>
      </p:pic>
      <p:pic>
        <p:nvPicPr>
          <p:cNvPr id="5" name="Imagen 4" descr="Icono&#10;&#10;Descripción generada automáticamente">
            <a:extLst>
              <a:ext uri="{FF2B5EF4-FFF2-40B4-BE49-F238E27FC236}">
                <a16:creationId xmlns:a16="http://schemas.microsoft.com/office/drawing/2014/main" id="{7900800B-4908-1DD5-DD00-B4606448878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759"/>
          <a:stretch/>
        </p:blipFill>
        <p:spPr>
          <a:xfrm>
            <a:off x="2896666" y="0"/>
            <a:ext cx="9295334" cy="6858000"/>
          </a:xfrm>
          <a:prstGeom prst="rect">
            <a:avLst/>
          </a:prstGeom>
        </p:spPr>
      </p:pic>
      <p:pic>
        <p:nvPicPr>
          <p:cNvPr id="7" name="Gráfico 6">
            <a:extLst>
              <a:ext uri="{FF2B5EF4-FFF2-40B4-BE49-F238E27FC236}">
                <a16:creationId xmlns:a16="http://schemas.microsoft.com/office/drawing/2014/main" id="{D75CBEEA-0CCB-373F-4F76-D53BEEC3A75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597" r="19800" b="17542"/>
          <a:stretch/>
        </p:blipFill>
        <p:spPr>
          <a:xfrm>
            <a:off x="10549263" y="5926412"/>
            <a:ext cx="1311153" cy="715020"/>
          </a:xfrm>
          <a:prstGeom prst="rect">
            <a:avLst/>
          </a:prstGeom>
        </p:spPr>
      </p:pic>
      <p:pic>
        <p:nvPicPr>
          <p:cNvPr id="9" name="Imagen 8" descr="Logotipo&#10;&#10;Descripción generada automáticamente">
            <a:extLst>
              <a:ext uri="{FF2B5EF4-FFF2-40B4-BE49-F238E27FC236}">
                <a16:creationId xmlns:a16="http://schemas.microsoft.com/office/drawing/2014/main" id="{068A5F8C-DE68-A4CC-D051-8205B351E45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4033" y="34092"/>
            <a:ext cx="2542516" cy="1237693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id="{9907E588-B50D-4E70-429E-5ABA6D4913C3}"/>
              </a:ext>
            </a:extLst>
          </p:cNvPr>
          <p:cNvSpPr txBox="1">
            <a:spLocks/>
          </p:cNvSpPr>
          <p:nvPr/>
        </p:nvSpPr>
        <p:spPr>
          <a:xfrm>
            <a:off x="6816410" y="3296095"/>
            <a:ext cx="4701703" cy="10692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200" b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es CASO CLÍNICO PONENTE 2</a:t>
            </a:r>
          </a:p>
        </p:txBody>
      </p:sp>
    </p:spTree>
    <p:extLst>
      <p:ext uri="{BB962C8B-B14F-4D97-AF65-F5344CB8AC3E}">
        <p14:creationId xmlns:p14="http://schemas.microsoft.com/office/powerpoint/2010/main" val="37014968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8488CE5-3C25-7739-FB7E-2746452EF5D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/>
          </a:bodyPr>
          <a:lstStyle/>
          <a:p>
            <a:r>
              <a:rPr lang="es-ES_tradnl"/>
              <a:t>Ponente 2 – Q&amp;A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802318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38CEF7E-9D02-1034-DFA9-8F02AF83C4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0838" y="370795"/>
            <a:ext cx="8675401" cy="843114"/>
          </a:xfrm>
        </p:spPr>
        <p:txBody>
          <a:bodyPr/>
          <a:lstStyle/>
          <a:p>
            <a:r>
              <a:rPr lang="es-ES_tradnl"/>
              <a:t>Preguntas para que los ponentes debatan</a:t>
            </a:r>
            <a:endParaRPr lang="es-ES"/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0C1F3321-0E32-6A3A-863C-CB79750C9A03}"/>
              </a:ext>
            </a:extLst>
          </p:cNvPr>
          <p:cNvSpPr txBox="1">
            <a:spLocks/>
          </p:cNvSpPr>
          <p:nvPr/>
        </p:nvSpPr>
        <p:spPr>
          <a:xfrm>
            <a:off x="513779" y="1207293"/>
            <a:ext cx="10430361" cy="511628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46057" marR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3"/>
              </a:buBlip>
              <a:tabLst/>
              <a:defRPr sz="15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1pPr>
            <a:lvl2pPr marL="627047" indent="-133347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6057" marR="0" lvl="0" indent="-246057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1" i="0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4" action="ppaction://hlinksldjump"/>
              </a:rPr>
              <a:t>¿Qué expectativas tienen los pacientes con QA respecto a los tratamientos?</a:t>
            </a:r>
            <a:endParaRPr kumimoji="0" lang="es-ES" sz="1800" b="1" i="0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ea typeface="+mn-ea"/>
              <a:cs typeface="+mn-cs"/>
              <a:hlinkClick r:id="rId5" action="ppaction://hlinksldjump"/>
            </a:endParaRPr>
          </a:p>
          <a:p>
            <a:pPr marL="246057" marR="0" lvl="0" indent="-246057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1" i="0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5" action="ppaction://hlinksldjump"/>
              </a:rPr>
              <a:t>¿Por qué es importante tratar el campo de cancerización?</a:t>
            </a:r>
            <a:endParaRPr kumimoji="0" lang="es-ES" sz="1800" b="1" i="0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46057" marR="0" lvl="0" indent="-246057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1" i="0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6" action="ppaction://hlinksldjump"/>
              </a:rPr>
              <a:t>¿Es relevante la opinión/contexto social del paciente para la elección del tratamiento?</a:t>
            </a:r>
            <a:endParaRPr kumimoji="0" lang="es-ES" sz="1800" b="1" i="0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46057" marR="0" lvl="0" indent="-246057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1" i="0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7" action="ppaction://hlinksldjump"/>
              </a:rPr>
              <a:t>¿Considera que en la QA la eficacia está relacionada con la gravedad de los efectos adversos del tratamiento?</a:t>
            </a:r>
            <a:endParaRPr kumimoji="0" lang="es-ES" sz="1800" b="1" i="0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46057" marR="0" lvl="0" indent="-246057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1" i="0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8" action="ppaction://hlinksldjump"/>
              </a:rPr>
              <a:t>¿Considera que la posología de </a:t>
            </a:r>
            <a:r>
              <a:rPr kumimoji="0" lang="es-ES" sz="1800" b="1" i="0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8" action="ppaction://hlinksldjump"/>
              </a:rPr>
              <a:t>tirbanibulina</a:t>
            </a:r>
            <a:r>
              <a:rPr kumimoji="0" lang="es-ES" sz="1800" b="1" i="0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8" action="ppaction://hlinksldjump"/>
              </a:rPr>
              <a:t> (de sólo 5 días) es conveniente para el paciente?</a:t>
            </a:r>
            <a:endParaRPr kumimoji="0" lang="es-ES" sz="1800" b="1" i="0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46057" marR="0" lvl="0" indent="-246057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1" i="0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9" action="ppaction://hlinksldjump"/>
              </a:rPr>
              <a:t>¿Qué impacto tiene la posología en la adherencia del paciente al tratamiento?</a:t>
            </a:r>
            <a:endParaRPr kumimoji="0" lang="es-ES" sz="1800" b="1" i="0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None/>
              <a:tabLst/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85295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38CEF7E-9D02-1034-DFA9-8F02AF83C49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0838" y="370795"/>
            <a:ext cx="8675401" cy="843114"/>
          </a:xfrm>
        </p:spPr>
        <p:txBody>
          <a:bodyPr/>
          <a:lstStyle/>
          <a:p>
            <a:r>
              <a:rPr lang="es-ES_tradnl"/>
              <a:t>Preguntas para que los ponentes debatan</a:t>
            </a:r>
            <a:endParaRPr lang="es-ES"/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0C1F3321-0E32-6A3A-863C-CB79750C9A03}"/>
              </a:ext>
            </a:extLst>
          </p:cNvPr>
          <p:cNvSpPr txBox="1">
            <a:spLocks/>
          </p:cNvSpPr>
          <p:nvPr/>
        </p:nvSpPr>
        <p:spPr>
          <a:xfrm>
            <a:off x="513779" y="1207293"/>
            <a:ext cx="10430361" cy="511628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46057" marR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3"/>
              </a:buBlip>
              <a:tabLst/>
              <a:defRPr sz="15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1pPr>
            <a:lvl2pPr marL="627047" indent="-133347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6057" marR="0" lvl="0" indent="-246057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4" action="ppaction://hlinksldjump"/>
              </a:rPr>
              <a:t>¿Valoras positivamente la alta predisposición 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4" action="ppaction://hlinksldjump"/>
              </a:rPr>
              <a:t>(tanto de pacientes como clínicos) </a:t>
            </a: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4" action="ppaction://hlinksldjump"/>
              </a:rPr>
              <a:t>a volver a utilizar </a:t>
            </a:r>
            <a:r>
              <a:rPr kumimoji="0" lang="es-ES" sz="1800" b="1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4" action="ppaction://hlinksldjump"/>
              </a:rPr>
              <a:t>tirbanibulina</a:t>
            </a: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4" action="ppaction://hlinksldjump"/>
              </a:rPr>
              <a:t> de nuevo? </a:t>
            </a: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46057" marR="0" lvl="0" indent="-246057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5" action="ppaction://hlinksldjump"/>
              </a:rPr>
              <a:t>¿Creéis que hay que tratar las queratosis “incipientes”? ¿o esperar a que hayan progresado?</a:t>
            </a: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46057" marR="0" lvl="0" indent="-246057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6" action="ppaction://hlinksldjump"/>
              </a:rPr>
              <a:t>¿La apariencia de la piel/el efecto cosmético tras el tratamiento es relevante (tanto de pacientes como de los médicos) para volver a utilizar </a:t>
            </a:r>
            <a:r>
              <a:rPr kumimoji="0" lang="es-ES" sz="1800" b="1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6" action="ppaction://hlinksldjump"/>
              </a:rPr>
              <a:t>tirbanibulina</a:t>
            </a: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6" action="ppaction://hlinksldjump"/>
              </a:rPr>
              <a:t> de nuevo? </a:t>
            </a: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46057" marR="0" lvl="0" indent="-246057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7" action="ppaction://hlinksldjump"/>
              </a:rPr>
              <a:t>¿Creéis que los efectos adversos derivados del tratamiento con </a:t>
            </a:r>
            <a:r>
              <a:rPr kumimoji="0" lang="es-ES" sz="1800" b="1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7" action="ppaction://hlinksldjump"/>
              </a:rPr>
              <a:t>tirbanibulina</a:t>
            </a: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7" action="ppaction://hlinksldjump"/>
              </a:rPr>
              <a:t> se resuelven solos? </a:t>
            </a: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46057" marR="0" lvl="0" indent="-246057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8" action="ppaction://hlinksldjump"/>
              </a:rPr>
              <a:t>¿Podrían explicarse los beneficios adicionales de </a:t>
            </a:r>
            <a:r>
              <a:rPr kumimoji="0" lang="es-ES" sz="1800" b="1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8" action="ppaction://hlinksldjump"/>
              </a:rPr>
              <a:t>tirbanibulina</a:t>
            </a: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+mn-ea"/>
                <a:cs typeface="+mn-cs"/>
                <a:hlinkClick r:id="rId8" action="ppaction://hlinksldjump"/>
              </a:rPr>
              <a:t> en cuanto a la gravedad de los efectos adversos a través de su mecanismo de acción?</a:t>
            </a:r>
            <a:endParaRPr kumimoji="0" lang="es-ES" sz="18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None/>
              <a:tabLst/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endParaRPr kumimoji="0" lang="es-ES" sz="12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9618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45721FE5-F64F-BC68-BDBF-2B6C9C82C0B4}"/>
              </a:ext>
            </a:extLst>
          </p:cNvPr>
          <p:cNvSpPr/>
          <p:nvPr/>
        </p:nvSpPr>
        <p:spPr>
          <a:xfrm>
            <a:off x="1804268" y="6414151"/>
            <a:ext cx="85834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Steeb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T, et al.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Treatment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Motivation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and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Expectation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in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Patient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nic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ratosi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A German-Wide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center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ross-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tional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ial. J Clin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20 May 12;9(5)</a:t>
            </a:r>
            <a:endParaRPr lang="en-US" sz="80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77"/>
            <a:r>
              <a:rPr lang="es-ES_tradnl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5" name="Grafik 3" descr="Ein Bild, das Diagramm, Reihe, Screenshot, parallel enthält.&#10;&#10;Automatisch generierte Beschreibung">
            <a:extLst>
              <a:ext uri="{FF2B5EF4-FFF2-40B4-BE49-F238E27FC236}">
                <a16:creationId xmlns:a16="http://schemas.microsoft.com/office/drawing/2014/main" id="{994F460E-1CFA-8BEC-F612-FB80AD544AE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858" t="4455" r="1409"/>
          <a:stretch/>
        </p:blipFill>
        <p:spPr>
          <a:xfrm>
            <a:off x="1722149" y="1767372"/>
            <a:ext cx="8554720" cy="4077159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B3DF81E7-B2D5-FFFC-89A0-CAFA865ECA1F}"/>
              </a:ext>
            </a:extLst>
          </p:cNvPr>
          <p:cNvSpPr/>
          <p:nvPr/>
        </p:nvSpPr>
        <p:spPr>
          <a:xfrm flipH="1">
            <a:off x="1681293" y="3905093"/>
            <a:ext cx="8636432" cy="17669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025CD861-786F-33EE-A67A-A50602F901DD}"/>
              </a:ext>
            </a:extLst>
          </p:cNvPr>
          <p:cNvGrpSpPr/>
          <p:nvPr/>
        </p:nvGrpSpPr>
        <p:grpSpPr>
          <a:xfrm>
            <a:off x="2362853" y="3526759"/>
            <a:ext cx="7151908" cy="2415150"/>
            <a:chOff x="2164898" y="3556010"/>
            <a:chExt cx="7151908" cy="2415150"/>
          </a:xfrm>
          <a:noFill/>
        </p:grpSpPr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8C6A3AD6-6ED4-3CA9-3885-AE9843FCB2D4}"/>
                </a:ext>
              </a:extLst>
            </p:cNvPr>
            <p:cNvSpPr txBox="1"/>
            <p:nvPr/>
          </p:nvSpPr>
          <p:spPr>
            <a:xfrm rot="18850885">
              <a:off x="4901177" y="4353088"/>
              <a:ext cx="1856580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Ciclo de tratamiento corto</a:t>
              </a:r>
            </a:p>
          </p:txBody>
        </p:sp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C4FF4064-370D-50F0-31C9-668F3BBF145E}"/>
                </a:ext>
              </a:extLst>
            </p:cNvPr>
            <p:cNvSpPr txBox="1"/>
            <p:nvPr/>
          </p:nvSpPr>
          <p:spPr>
            <a:xfrm rot="18829828">
              <a:off x="2568224" y="4410320"/>
              <a:ext cx="2049473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El tratamiento es muy poco o poco doloroso</a:t>
              </a:r>
            </a:p>
          </p:txBody>
        </p: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9A759B3F-7B1A-A3AB-DE0E-C3D1DDE08B21}"/>
                </a:ext>
              </a:extLst>
            </p:cNvPr>
            <p:cNvSpPr txBox="1"/>
            <p:nvPr/>
          </p:nvSpPr>
          <p:spPr>
            <a:xfrm rot="18829828">
              <a:off x="4127685" y="4263192"/>
              <a:ext cx="1506250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Buen resultado cosmético</a:t>
              </a:r>
            </a:p>
          </p:txBody>
        </p: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F778BC18-A7C2-88E3-73E3-2C4D60955402}"/>
                </a:ext>
              </a:extLst>
            </p:cNvPr>
            <p:cNvSpPr txBox="1"/>
            <p:nvPr/>
          </p:nvSpPr>
          <p:spPr>
            <a:xfrm rot="18796956">
              <a:off x="6167688" y="4235290"/>
              <a:ext cx="1656838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Bajos costos de tratamiento</a:t>
              </a: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F1CA49CA-DADD-8360-1787-A7CDAC257089}"/>
                </a:ext>
              </a:extLst>
            </p:cNvPr>
            <p:cNvSpPr txBox="1"/>
            <p:nvPr/>
          </p:nvSpPr>
          <p:spPr>
            <a:xfrm rot="18824745">
              <a:off x="7209896" y="4192782"/>
              <a:ext cx="1796763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Tratamiento realizado en casa</a:t>
              </a: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8415CAB4-6862-9260-9BAC-1152EEE30E62}"/>
                </a:ext>
              </a:extLst>
            </p:cNvPr>
            <p:cNvSpPr txBox="1"/>
            <p:nvPr/>
          </p:nvSpPr>
          <p:spPr>
            <a:xfrm rot="18737596">
              <a:off x="8053015" y="4403036"/>
              <a:ext cx="2004361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Tratamiento realizado sólo una vez</a:t>
              </a: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3D1D7CC4-DEC8-8A35-A085-628D982731F5}"/>
                </a:ext>
              </a:extLst>
            </p:cNvPr>
            <p:cNvSpPr txBox="1"/>
            <p:nvPr/>
          </p:nvSpPr>
          <p:spPr>
            <a:xfrm rot="18829828">
              <a:off x="1242311" y="4525353"/>
              <a:ext cx="2368394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El tratamiento no interfiere con la vida diaria</a:t>
              </a:r>
            </a:p>
          </p:txBody>
        </p:sp>
      </p:grpSp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FF64B2B1-1103-1CF7-7376-2606CFFA0B40}"/>
              </a:ext>
            </a:extLst>
          </p:cNvPr>
          <p:cNvSpPr/>
          <p:nvPr/>
        </p:nvSpPr>
        <p:spPr>
          <a:xfrm>
            <a:off x="1335635" y="1363857"/>
            <a:ext cx="9285515" cy="4429298"/>
          </a:xfrm>
          <a:prstGeom prst="roundRect">
            <a:avLst/>
          </a:prstGeom>
          <a:noFill/>
          <a:ln w="9525" cap="flat" cmpd="sng" algn="ctr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endParaRPr lang="es-ES" sz="1600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7D5C8A50-C8EB-0B19-A541-D0D17EB1AECC}"/>
              </a:ext>
            </a:extLst>
          </p:cNvPr>
          <p:cNvSpPr txBox="1"/>
          <p:nvPr/>
        </p:nvSpPr>
        <p:spPr>
          <a:xfrm>
            <a:off x="583342" y="274572"/>
            <a:ext cx="8631050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2600" b="1" i="0" u="none" strike="noStrike" kern="1200" cap="none" spc="0" normalizeH="0" baseline="0" noProof="0">
                <a:ln>
                  <a:noFill/>
                </a:ln>
                <a:solidFill>
                  <a:srgbClr val="E93C3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¿Qué expectativas tienen los pacientes con QA respecto a los tratamientos?</a:t>
            </a:r>
          </a:p>
        </p:txBody>
      </p:sp>
    </p:spTree>
    <p:extLst>
      <p:ext uri="{BB962C8B-B14F-4D97-AF65-F5344CB8AC3E}">
        <p14:creationId xmlns:p14="http://schemas.microsoft.com/office/powerpoint/2010/main" val="3448349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"/>
              <a:t>Conflictos de interés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04EEE44-B154-B77A-A8CB-943F26A19FC5}"/>
              </a:ext>
            </a:extLst>
          </p:cNvPr>
          <p:cNvSpPr txBox="1">
            <a:spLocks/>
          </p:cNvSpPr>
          <p:nvPr/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44" indent="-285744" defTabSz="914377">
              <a:lnSpc>
                <a:spcPct val="150000"/>
              </a:lnSpc>
              <a:spcBef>
                <a:spcPts val="1000"/>
              </a:spcBef>
            </a:pPr>
            <a:r>
              <a:rPr lang="es-ES" sz="1400">
                <a:solidFill>
                  <a:srgbClr val="002855"/>
                </a:solidFill>
                <a:latin typeface="Arial" panose="020B0604020202020204"/>
              </a:rPr>
              <a:t>He proporcionado asesoramiento científico, participado en reuniones médicas y cursos de formación patrocinados por XXX</a:t>
            </a:r>
          </a:p>
          <a:p>
            <a:pPr marL="285744" indent="-285744" defTabSz="914377">
              <a:lnSpc>
                <a:spcPct val="150000"/>
              </a:lnSpc>
              <a:spcBef>
                <a:spcPts val="1000"/>
              </a:spcBef>
            </a:pPr>
            <a:r>
              <a:rPr lang="es-ES" sz="1400">
                <a:solidFill>
                  <a:srgbClr val="002855"/>
                </a:solidFill>
                <a:latin typeface="Arial" panose="020B0604020202020204"/>
              </a:rPr>
              <a:t>He participado como investigador principal o colaborador en ensayos clínicos o trabajos de investigación para XXX</a:t>
            </a:r>
            <a:endParaRPr lang="es-ES" sz="1400">
              <a:solidFill>
                <a:srgbClr val="6F6F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594" indent="-228594" defTabSz="914377">
              <a:spcBef>
                <a:spcPts val="1000"/>
              </a:spcBef>
            </a:pPr>
            <a:endParaRPr lang="es-ES" sz="400" i="1">
              <a:solidFill>
                <a:srgbClr val="6F6F6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08799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Marcador de texto 2">
            <a:extLst>
              <a:ext uri="{FF2B5EF4-FFF2-40B4-BE49-F238E27FC236}">
                <a16:creationId xmlns:a16="http://schemas.microsoft.com/office/drawing/2014/main" id="{6C869F87-2E87-682F-C336-5436F00916D9}"/>
              </a:ext>
            </a:extLst>
          </p:cNvPr>
          <p:cNvSpPr txBox="1">
            <a:spLocks/>
          </p:cNvSpPr>
          <p:nvPr/>
        </p:nvSpPr>
        <p:spPr>
          <a:xfrm>
            <a:off x="833650" y="1144644"/>
            <a:ext cx="9890832" cy="19867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46057" marR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 sz="15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1pPr>
            <a:lvl2pPr marL="627047" indent="-133347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s-ES" sz="2000" b="1" i="0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¿Qué es el campo de cancerización?</a:t>
            </a:r>
          </a:p>
          <a:p>
            <a:pPr marL="246057" marR="0" lvl="0" indent="-246057" algn="l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rea de piel con daño actínico que puede estar rodeando a cada QA y que muestra las mismas alteraciones genéticas (potencial de desarrollar nuevas QA y CEIC)</a:t>
            </a:r>
            <a:endParaRPr kumimoji="0" lang="es-ES" sz="1600" b="0" i="0" u="none" strike="noStrike" kern="1200" cap="none" spc="0" normalizeH="0" baseline="3000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46057" marR="0" lvl="0" indent="-246057" algn="l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A clínicamente visibles, 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A subclínicas 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 focos de queratinocitos con alteraciones genéticas </a:t>
            </a:r>
            <a:endParaRPr kumimoji="0" lang="es-ES" sz="16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13F61159-BD1F-3CB5-5995-DD9E4A3205AC}"/>
              </a:ext>
            </a:extLst>
          </p:cNvPr>
          <p:cNvGrpSpPr/>
          <p:nvPr/>
        </p:nvGrpSpPr>
        <p:grpSpPr>
          <a:xfrm>
            <a:off x="1634660" y="2929925"/>
            <a:ext cx="7705283" cy="2262239"/>
            <a:chOff x="455850" y="2913909"/>
            <a:chExt cx="11050565" cy="3323449"/>
          </a:xfrm>
        </p:grpSpPr>
        <p:sp>
          <p:nvSpPr>
            <p:cNvPr id="24" name="Rectangle: Single Corner Rounded 13">
              <a:extLst>
                <a:ext uri="{FF2B5EF4-FFF2-40B4-BE49-F238E27FC236}">
                  <a16:creationId xmlns:a16="http://schemas.microsoft.com/office/drawing/2014/main" id="{DAB0AA0A-AC06-1EDE-BB01-8099DB390767}"/>
                </a:ext>
              </a:extLst>
            </p:cNvPr>
            <p:cNvSpPr/>
            <p:nvPr/>
          </p:nvSpPr>
          <p:spPr>
            <a:xfrm flipV="1">
              <a:off x="460869" y="2942726"/>
              <a:ext cx="3530572" cy="2923845"/>
            </a:xfrm>
            <a:prstGeom prst="round1Rect">
              <a:avLst/>
            </a:prstGeom>
            <a:blipFill>
              <a:blip r:embed="rId3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462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90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: Single Corner Rounded 13">
              <a:extLst>
                <a:ext uri="{FF2B5EF4-FFF2-40B4-BE49-F238E27FC236}">
                  <a16:creationId xmlns:a16="http://schemas.microsoft.com/office/drawing/2014/main" id="{8AB4D7B8-DA84-31EA-F980-A444B7B51778}"/>
                </a:ext>
              </a:extLst>
            </p:cNvPr>
            <p:cNvSpPr/>
            <p:nvPr/>
          </p:nvSpPr>
          <p:spPr>
            <a:xfrm flipV="1">
              <a:off x="4181433" y="2942725"/>
              <a:ext cx="3180385" cy="2923845"/>
            </a:xfrm>
            <a:prstGeom prst="round1Rect">
              <a:avLst/>
            </a:prstGeom>
            <a:blipFill>
              <a:blip r:embed="rId4"/>
              <a:stretch>
                <a:fillRect l="-5972" t="494" r="-5039" b="-494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462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90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6" name="Picture 2" descr="https://multimedia.elsevier.es/PublicationsMultimediaV1/item/multimedia/S0212656717301440:gr1.jpeg?xkr=ue/ImdikoIMrsJoerZ+w997EogCnBdOOD93cPFbanNeiCVkJWzXJsOk1sisXufhEHxwHte189PMkxP+crANxOVM78Eh/a9UVnzupYeYpqCiQYuma9gvouhHonbi4vlHCxe/gxqW0+7BZyKWs2cmIM9uu/WDW+clS9I/mf3oofxDe9GViNbxqEu4f3dgxTN796Ey7pHaEHO0hWbNm6y3fD/ZD485GVNsCgtilbRPX84s7m9TNIXs48GEDoOQQUBnq4dLDIlCyLvyVLF0rmfwfTGvNgUHb2RSAqzWTEXo0M3E=">
              <a:extLst>
                <a:ext uri="{FF2B5EF4-FFF2-40B4-BE49-F238E27FC236}">
                  <a16:creationId xmlns:a16="http://schemas.microsoft.com/office/drawing/2014/main" id="{55759112-467B-8834-AB61-802051E2433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0800000" flipH="1">
              <a:off x="7551810" y="2913909"/>
              <a:ext cx="3954605" cy="2938278"/>
            </a:xfrm>
            <a:prstGeom prst="round1Rect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</p:pic>
        <p:sp>
          <p:nvSpPr>
            <p:cNvPr id="27" name="TextBox 10">
              <a:extLst>
                <a:ext uri="{FF2B5EF4-FFF2-40B4-BE49-F238E27FC236}">
                  <a16:creationId xmlns:a16="http://schemas.microsoft.com/office/drawing/2014/main" id="{8150A29F-0346-D886-8E86-31C69D3544E0}"/>
                </a:ext>
              </a:extLst>
            </p:cNvPr>
            <p:cNvSpPr txBox="1"/>
            <p:nvPr/>
          </p:nvSpPr>
          <p:spPr>
            <a:xfrm>
              <a:off x="7551810" y="5902860"/>
              <a:ext cx="3854523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462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800" b="0" i="0" u="none" strike="noStrike" kern="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</a:rPr>
                <a:t>Imagen adaptada de </a:t>
              </a:r>
              <a:r>
                <a:rPr kumimoji="0" lang="es-ES" sz="800" b="0" i="0" u="none" strike="noStrike" kern="0" cap="none" spc="0" normalizeH="0" baseline="0" noProof="1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</a:rPr>
                <a:t>Carmena-Ramón</a:t>
              </a:r>
              <a:r>
                <a:rPr kumimoji="0" lang="es-ES" sz="800" b="0" i="0" u="none" strike="noStrike" kern="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</a:rPr>
                <a:t> et al. Aten Primaria 2017;49:492-7</a:t>
              </a:r>
              <a:endParaRPr kumimoji="0" lang="pt-BR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1">
              <a:extLst>
                <a:ext uri="{FF2B5EF4-FFF2-40B4-BE49-F238E27FC236}">
                  <a16:creationId xmlns:a16="http://schemas.microsoft.com/office/drawing/2014/main" id="{1F850CAA-3117-0DD9-17B4-0C3B2A5F81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850" y="6021913"/>
              <a:ext cx="3210214" cy="215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altLang="es-E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magen propiedad Almirall cedida por el Dr. Norberto López</a:t>
              </a:r>
            </a:p>
          </p:txBody>
        </p:sp>
        <p:sp>
          <p:nvSpPr>
            <p:cNvPr id="29" name="Rectangle 1">
              <a:extLst>
                <a:ext uri="{FF2B5EF4-FFF2-40B4-BE49-F238E27FC236}">
                  <a16:creationId xmlns:a16="http://schemas.microsoft.com/office/drawing/2014/main" id="{7B984309-07D8-0A63-61AA-666C4532C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1604" y="5977135"/>
              <a:ext cx="3210214" cy="215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s-ES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altLang="es-E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magen propiedad Almirall cedida por el Dr. Norberto López</a:t>
              </a:r>
            </a:p>
          </p:txBody>
        </p:sp>
      </p:grpSp>
      <p:sp>
        <p:nvSpPr>
          <p:cNvPr id="30" name="CuadroTexto 29">
            <a:extLst>
              <a:ext uri="{FF2B5EF4-FFF2-40B4-BE49-F238E27FC236}">
                <a16:creationId xmlns:a16="http://schemas.microsoft.com/office/drawing/2014/main" id="{2792C813-6045-F117-6ED3-7E83907370B9}"/>
              </a:ext>
            </a:extLst>
          </p:cNvPr>
          <p:cNvSpPr txBox="1"/>
          <p:nvPr/>
        </p:nvSpPr>
        <p:spPr>
          <a:xfrm>
            <a:off x="371242" y="311962"/>
            <a:ext cx="7847472" cy="4983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lnSpc>
                <a:spcPct val="110000"/>
              </a:lnSpc>
              <a:spcAft>
                <a:spcPts val="1800"/>
              </a:spcAft>
              <a:buSzPct val="90000"/>
              <a:defRPr/>
            </a:pPr>
            <a:r>
              <a:rPr lang="es-ES" sz="2600" b="1">
                <a:solidFill>
                  <a:srgbClr val="E93C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Por qué es importante tratar el campo?</a:t>
            </a:r>
          </a:p>
        </p:txBody>
      </p:sp>
      <p:sp>
        <p:nvSpPr>
          <p:cNvPr id="2" name="TextBox 32">
            <a:extLst>
              <a:ext uri="{FF2B5EF4-FFF2-40B4-BE49-F238E27FC236}">
                <a16:creationId xmlns:a16="http://schemas.microsoft.com/office/drawing/2014/main" id="{E74F3DBA-EFD3-4338-8D2C-EDFCE24B1B5E}"/>
              </a:ext>
            </a:extLst>
          </p:cNvPr>
          <p:cNvSpPr txBox="1"/>
          <p:nvPr/>
        </p:nvSpPr>
        <p:spPr>
          <a:xfrm>
            <a:off x="1910755" y="6299508"/>
            <a:ext cx="8167290" cy="415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92075" indent="-92075" defTabSz="685800">
              <a:lnSpc>
                <a:spcPct val="150000"/>
              </a:lnSpc>
            </a:pPr>
            <a:r>
              <a:rPr lang="es-ES_tradnl" sz="7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IC, carcinoma epidermoide invasivo cutáneo; QA, Queratosis Actínica</a:t>
            </a:r>
            <a:endParaRPr lang="es-ES" sz="800" b="1" noProof="1">
              <a:solidFill>
                <a:srgbClr val="002060"/>
              </a:solidFill>
            </a:endParaRPr>
          </a:p>
          <a:p>
            <a:pPr marL="92075" indent="-92075" defTabSz="685800">
              <a:lnSpc>
                <a:spcPct val="150000"/>
              </a:lnSpc>
            </a:pPr>
            <a:r>
              <a:rPr kumimoji="0" lang="es-E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rrándiz C, et al. Spanish adaptation of the European guidelines for the evaluation and treatment of actinic keratosis. Actas Dermosifiliogr. 2014 May;105(4):378-93</a:t>
            </a:r>
          </a:p>
        </p:txBody>
      </p:sp>
    </p:spTree>
    <p:extLst>
      <p:ext uri="{BB962C8B-B14F-4D97-AF65-F5344CB8AC3E}">
        <p14:creationId xmlns:p14="http://schemas.microsoft.com/office/powerpoint/2010/main" val="283701591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2">
            <a:extLst>
              <a:ext uri="{FF2B5EF4-FFF2-40B4-BE49-F238E27FC236}">
                <a16:creationId xmlns:a16="http://schemas.microsoft.com/office/drawing/2014/main" id="{8F687FB7-D0B7-660F-EB2E-8EE8F2D612A0}"/>
              </a:ext>
            </a:extLst>
          </p:cNvPr>
          <p:cNvSpPr txBox="1">
            <a:spLocks/>
          </p:cNvSpPr>
          <p:nvPr/>
        </p:nvSpPr>
        <p:spPr>
          <a:xfrm>
            <a:off x="675246" y="1101798"/>
            <a:ext cx="9790581" cy="317457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46057" marR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 sz="15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1pPr>
            <a:lvl2pPr marL="627047" indent="-133347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 importante tratar el campo de cancerización porque:</a:t>
            </a: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as QA tienen 3 posibilidades de </a:t>
            </a: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olución impredecible:</a:t>
            </a:r>
          </a:p>
          <a:p>
            <a:pPr marL="630238" marR="0" lvl="0" indent="-244475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resión espontánea (entre 15-55 % dentro del año)</a:t>
            </a:r>
          </a:p>
          <a:p>
            <a:pPr marL="630238" marR="0" lvl="0" indent="-244475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istencia</a:t>
            </a:r>
          </a:p>
          <a:p>
            <a:pPr marL="630238" marR="0" lvl="0" indent="-244475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esión a carcinoma escamoso invasivo</a:t>
            </a: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unos datos:</a:t>
            </a:r>
          </a:p>
          <a:p>
            <a:pPr marL="538163" marR="0" lvl="0" indent="-182563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80% CE invasivos de áreas expuestas emergen sobre o en contigüidad con QA</a:t>
            </a:r>
          </a:p>
          <a:p>
            <a:pPr marL="538163" marR="0" lvl="0" indent="-182563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esgo de progresión a CE invasivo en 10 años ≈ 6-10%, en pacientes inmunodeprimidos 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%</a:t>
            </a:r>
            <a:r>
              <a:rPr kumimoji="0" lang="es-ES" b="1" i="0" u="none" strike="noStrike" kern="1200" cap="none" spc="0" normalizeH="0" baseline="3000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5560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None/>
              <a:tabLst/>
              <a:defRPr/>
            </a:pPr>
            <a:endParaRPr kumimoji="0" lang="es-ES" sz="7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32">
            <a:extLst>
              <a:ext uri="{FF2B5EF4-FFF2-40B4-BE49-F238E27FC236}">
                <a16:creationId xmlns:a16="http://schemas.microsoft.com/office/drawing/2014/main" id="{FCDCFF4F-0540-0496-573B-0A19A329EAED}"/>
              </a:ext>
            </a:extLst>
          </p:cNvPr>
          <p:cNvSpPr txBox="1"/>
          <p:nvPr/>
        </p:nvSpPr>
        <p:spPr>
          <a:xfrm>
            <a:off x="1880951" y="6411874"/>
            <a:ext cx="816729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es-E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rrándiz C, et al. Spanish adaptation of the European guidelines for the evaluation and treatment of actinic keratosis. Actas Dermosifiliogr. 2014 May;105(4):378-93</a:t>
            </a: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D4FA4E7A-0B3A-7A60-F52A-1B5B8F02CE17}"/>
              </a:ext>
            </a:extLst>
          </p:cNvPr>
          <p:cNvGrpSpPr/>
          <p:nvPr/>
        </p:nvGrpSpPr>
        <p:grpSpPr>
          <a:xfrm>
            <a:off x="948267" y="4449916"/>
            <a:ext cx="9517560" cy="1219200"/>
            <a:chOff x="978835" y="4281029"/>
            <a:chExt cx="9790582" cy="1219200"/>
          </a:xfrm>
        </p:grpSpPr>
        <p:sp>
          <p:nvSpPr>
            <p:cNvPr id="7" name="Rectángulo: esquinas redondeadas 6">
              <a:extLst>
                <a:ext uri="{FF2B5EF4-FFF2-40B4-BE49-F238E27FC236}">
                  <a16:creationId xmlns:a16="http://schemas.microsoft.com/office/drawing/2014/main" id="{25D1DC3E-79C9-44CA-D4E3-4F462C07FC42}"/>
                </a:ext>
              </a:extLst>
            </p:cNvPr>
            <p:cNvSpPr/>
            <p:nvPr/>
          </p:nvSpPr>
          <p:spPr>
            <a:xfrm>
              <a:off x="978835" y="4281029"/>
              <a:ext cx="9790582" cy="1219200"/>
            </a:xfrm>
            <a:prstGeom prst="roundRect">
              <a:avLst/>
            </a:prstGeom>
            <a:solidFill>
              <a:srgbClr val="BDD7EE">
                <a:alpha val="76863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8389BB0A-0202-C14C-B42F-CBFFDBFCD206}"/>
                </a:ext>
              </a:extLst>
            </p:cNvPr>
            <p:cNvSpPr txBox="1"/>
            <p:nvPr/>
          </p:nvSpPr>
          <p:spPr>
            <a:xfrm>
              <a:off x="1156122" y="4406041"/>
              <a:ext cx="9436009" cy="96917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algn="just" defTabSz="914377" rtl="0" eaLnBrk="1" fontAlgn="auto" latinLnBrk="0" hangingPunct="1">
                <a:lnSpc>
                  <a:spcPct val="14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iempre que sea posible</a:t>
              </a:r>
              <a:r>
                <a:rPr kumimoji="0" lang="es-ES" sz="1400" b="1" i="0" u="sng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, el tratamiento del campo de cancerización debe darse con el objetivo de prevenir la progresión de las lesiones subclínicas a lesiones visibles</a:t>
              </a: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, que a su vez podrían progresar aún más, convertirse en CEC invasivos (nivel de evidencia 4, grado </a:t>
              </a:r>
              <a:r>
                <a:rPr kumimoji="0" lang="es-E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√recomendación</a:t>
              </a: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)</a:t>
              </a:r>
              <a:r>
                <a:rPr kumimoji="0" lang="es-ES" sz="14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endPara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366506C7-0BBE-89A2-8404-70DBD4CA3599}"/>
              </a:ext>
            </a:extLst>
          </p:cNvPr>
          <p:cNvSpPr txBox="1"/>
          <p:nvPr/>
        </p:nvSpPr>
        <p:spPr>
          <a:xfrm>
            <a:off x="371242" y="311962"/>
            <a:ext cx="7847472" cy="4983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lnSpc>
                <a:spcPct val="110000"/>
              </a:lnSpc>
              <a:spcAft>
                <a:spcPts val="1800"/>
              </a:spcAft>
              <a:buSzPct val="90000"/>
              <a:defRPr/>
            </a:pPr>
            <a:r>
              <a:rPr lang="es-ES" sz="2600" b="1">
                <a:solidFill>
                  <a:srgbClr val="E93C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Por qué es importante tratar el campo?</a:t>
            </a:r>
          </a:p>
        </p:txBody>
      </p:sp>
    </p:spTree>
    <p:extLst>
      <p:ext uri="{BB962C8B-B14F-4D97-AF65-F5344CB8AC3E}">
        <p14:creationId xmlns:p14="http://schemas.microsoft.com/office/powerpoint/2010/main" val="12311883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9">
            <a:extLst>
              <a:ext uri="{FF2B5EF4-FFF2-40B4-BE49-F238E27FC236}">
                <a16:creationId xmlns:a16="http://schemas.microsoft.com/office/drawing/2014/main" id="{4272C77C-2847-BFE7-11A3-2C2D42A7A323}"/>
              </a:ext>
            </a:extLst>
          </p:cNvPr>
          <p:cNvSpPr txBox="1">
            <a:spLocks/>
          </p:cNvSpPr>
          <p:nvPr/>
        </p:nvSpPr>
        <p:spPr>
          <a:xfrm>
            <a:off x="432001" y="352892"/>
            <a:ext cx="5849270" cy="858562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600" b="1">
                <a:solidFill>
                  <a:srgbClr val="E63D42"/>
                </a:solidFill>
              </a:rPr>
              <a:t>La </a:t>
            </a:r>
            <a:r>
              <a:rPr lang="en-US" sz="2600" b="1" err="1">
                <a:solidFill>
                  <a:srgbClr val="E63D42"/>
                </a:solidFill>
              </a:rPr>
              <a:t>eficacia</a:t>
            </a:r>
            <a:r>
              <a:rPr lang="en-US" sz="2600" b="1">
                <a:solidFill>
                  <a:srgbClr val="E63D42"/>
                </a:solidFill>
              </a:rPr>
              <a:t> </a:t>
            </a:r>
            <a:r>
              <a:rPr lang="en-US" sz="2600" b="1" err="1">
                <a:solidFill>
                  <a:srgbClr val="E63D42"/>
                </a:solidFill>
              </a:rPr>
              <a:t>depende</a:t>
            </a:r>
            <a:r>
              <a:rPr lang="en-US" sz="2600" b="1">
                <a:solidFill>
                  <a:srgbClr val="E63D42"/>
                </a:solidFill>
              </a:rPr>
              <a:t> del </a:t>
            </a:r>
            <a:r>
              <a:rPr lang="en-US" sz="2600" b="1" err="1">
                <a:solidFill>
                  <a:srgbClr val="E63D42"/>
                </a:solidFill>
              </a:rPr>
              <a:t>área</a:t>
            </a:r>
            <a:endParaRPr lang="en-US" sz="2600" b="1">
              <a:solidFill>
                <a:srgbClr val="E63D42"/>
              </a:solidFill>
            </a:endParaRPr>
          </a:p>
          <a:p>
            <a:pPr marL="358775" indent="-358775">
              <a:buFont typeface="Wingdings" panose="05000000000000000000" pitchFamily="2" charset="2"/>
              <a:buChar char="ü"/>
            </a:pPr>
            <a:r>
              <a:rPr lang="en-US" sz="2400" b="1">
                <a:solidFill>
                  <a:srgbClr val="002060"/>
                </a:solidFill>
              </a:rPr>
              <a:t>90% de </a:t>
            </a:r>
            <a:r>
              <a:rPr lang="en-US" sz="2400" b="1" err="1">
                <a:solidFill>
                  <a:srgbClr val="002060"/>
                </a:solidFill>
              </a:rPr>
              <a:t>aclaramiento</a:t>
            </a:r>
            <a:endParaRPr lang="en-US" sz="2400" b="1">
              <a:solidFill>
                <a:srgbClr val="002060"/>
              </a:solidFill>
            </a:endParaRPr>
          </a:p>
        </p:txBody>
      </p:sp>
      <p:sp>
        <p:nvSpPr>
          <p:cNvPr id="5" name="TextBox 42">
            <a:extLst>
              <a:ext uri="{FF2B5EF4-FFF2-40B4-BE49-F238E27FC236}">
                <a16:creationId xmlns:a16="http://schemas.microsoft.com/office/drawing/2014/main" id="{495C0488-74EF-7143-021C-32A928EBA17A}"/>
              </a:ext>
            </a:extLst>
          </p:cNvPr>
          <p:cNvSpPr txBox="1"/>
          <p:nvPr/>
        </p:nvSpPr>
        <p:spPr>
          <a:xfrm>
            <a:off x="432000" y="1559796"/>
            <a:ext cx="3581200" cy="4331971"/>
          </a:xfrm>
          <a:prstGeom prst="roundRect">
            <a:avLst>
              <a:gd name="adj" fmla="val 5134"/>
            </a:avLst>
          </a:prstGeom>
          <a:solidFill>
            <a:schemeClr val="bg1"/>
          </a:solidFill>
          <a:ln>
            <a:solidFill>
              <a:schemeClr val="tx1">
                <a:lumMod val="7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txBody>
          <a:bodyPr wrap="square" lIns="24384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182875" indent="-182875" algn="l" defTabSz="914262">
              <a:buFont typeface="Arial" panose="020B0604020202020204" pitchFamily="34" charset="0"/>
              <a:buChar char="•"/>
            </a:pPr>
            <a:endParaRPr lang="en-US" sz="1867">
              <a:latin typeface="Arial"/>
            </a:endParaRPr>
          </a:p>
        </p:txBody>
      </p:sp>
      <p:sp>
        <p:nvSpPr>
          <p:cNvPr id="6" name="TextBox 43">
            <a:extLst>
              <a:ext uri="{FF2B5EF4-FFF2-40B4-BE49-F238E27FC236}">
                <a16:creationId xmlns:a16="http://schemas.microsoft.com/office/drawing/2014/main" id="{46C3F12E-B8DA-91A0-5BA1-E23D7886C436}"/>
              </a:ext>
            </a:extLst>
          </p:cNvPr>
          <p:cNvSpPr txBox="1"/>
          <p:nvPr/>
        </p:nvSpPr>
        <p:spPr>
          <a:xfrm>
            <a:off x="4337780" y="1559796"/>
            <a:ext cx="3581200" cy="4331971"/>
          </a:xfrm>
          <a:prstGeom prst="roundRect">
            <a:avLst>
              <a:gd name="adj" fmla="val 5134"/>
            </a:avLst>
          </a:prstGeom>
          <a:solidFill>
            <a:schemeClr val="bg1"/>
          </a:solidFill>
          <a:ln>
            <a:solidFill>
              <a:schemeClr val="tx1">
                <a:lumMod val="7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txBody>
          <a:bodyPr wrap="square" lIns="24384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182875" indent="-182875" algn="l" defTabSz="914262">
              <a:buFont typeface="Arial" panose="020B0604020202020204" pitchFamily="34" charset="0"/>
              <a:buChar char="•"/>
            </a:pPr>
            <a:endParaRPr lang="en-US" sz="1867">
              <a:latin typeface="Arial"/>
            </a:endParaRPr>
          </a:p>
        </p:txBody>
      </p:sp>
      <p:sp>
        <p:nvSpPr>
          <p:cNvPr id="7" name="TextBox 44">
            <a:extLst>
              <a:ext uri="{FF2B5EF4-FFF2-40B4-BE49-F238E27FC236}">
                <a16:creationId xmlns:a16="http://schemas.microsoft.com/office/drawing/2014/main" id="{BBF28689-35F6-2359-4483-EC717A53A9D6}"/>
              </a:ext>
            </a:extLst>
          </p:cNvPr>
          <p:cNvSpPr txBox="1"/>
          <p:nvPr/>
        </p:nvSpPr>
        <p:spPr>
          <a:xfrm>
            <a:off x="8243559" y="1559796"/>
            <a:ext cx="3581200" cy="4331971"/>
          </a:xfrm>
          <a:prstGeom prst="roundRect">
            <a:avLst>
              <a:gd name="adj" fmla="val 5134"/>
            </a:avLst>
          </a:prstGeom>
          <a:solidFill>
            <a:schemeClr val="bg1"/>
          </a:solidFill>
          <a:ln>
            <a:solidFill>
              <a:schemeClr val="tx1">
                <a:lumMod val="7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txBody>
          <a:bodyPr wrap="square" lIns="24384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182875" indent="-182875" algn="l" defTabSz="914262">
              <a:buFont typeface="Arial" panose="020B0604020202020204" pitchFamily="34" charset="0"/>
              <a:buChar char="•"/>
            </a:pPr>
            <a:endParaRPr lang="en-US" sz="1867">
              <a:latin typeface="Arial"/>
            </a:endParaRPr>
          </a:p>
        </p:txBody>
      </p:sp>
      <p:sp>
        <p:nvSpPr>
          <p:cNvPr id="8" name="Textfeld 36">
            <a:extLst>
              <a:ext uri="{FF2B5EF4-FFF2-40B4-BE49-F238E27FC236}">
                <a16:creationId xmlns:a16="http://schemas.microsoft.com/office/drawing/2014/main" id="{239E5E44-E374-14EF-5B0C-53D5F57509F4}"/>
              </a:ext>
            </a:extLst>
          </p:cNvPr>
          <p:cNvSpPr txBox="1"/>
          <p:nvPr/>
        </p:nvSpPr>
        <p:spPr>
          <a:xfrm>
            <a:off x="451412" y="4743838"/>
            <a:ext cx="3561787" cy="1147928"/>
          </a:xfrm>
          <a:prstGeom prst="round2SameRect">
            <a:avLst>
              <a:gd name="adj1" fmla="val 0"/>
              <a:gd name="adj2" fmla="val 17835"/>
            </a:avLst>
          </a:prstGeom>
          <a:solidFill>
            <a:schemeClr val="bg1">
              <a:lumMod val="95000"/>
            </a:schemeClr>
          </a:solidFill>
        </p:spPr>
        <p:txBody>
          <a:bodyPr wrap="square" lIns="60960" rIns="60960" rtlCol="0" anchor="b">
            <a:spAutoFit/>
          </a:bodyPr>
          <a:lstStyle/>
          <a:p>
            <a:pPr algn="ctr" defTabSz="1219170">
              <a:lnSpc>
                <a:spcPct val="120000"/>
              </a:lnSpc>
            </a:pPr>
            <a:r>
              <a:rPr lang="de-DE" sz="1867">
                <a:solidFill>
                  <a:srgbClr val="002855"/>
                </a:solidFill>
                <a:latin typeface="Arial"/>
              </a:rPr>
              <a:t>1 </a:t>
            </a:r>
            <a:r>
              <a:rPr lang="de-DE" sz="1867" err="1">
                <a:solidFill>
                  <a:srgbClr val="002855"/>
                </a:solidFill>
                <a:latin typeface="Arial"/>
              </a:rPr>
              <a:t>lesión</a:t>
            </a:r>
            <a:r>
              <a:rPr lang="de-DE" sz="1867">
                <a:solidFill>
                  <a:srgbClr val="002855"/>
                </a:solidFill>
                <a:latin typeface="Arial"/>
              </a:rPr>
              <a:t> en 25 cm</a:t>
            </a:r>
            <a:r>
              <a:rPr lang="de-DE" sz="1867" baseline="30000">
                <a:solidFill>
                  <a:srgbClr val="002855"/>
                </a:solidFill>
                <a:latin typeface="Arial"/>
              </a:rPr>
              <a:t>2</a:t>
            </a:r>
          </a:p>
          <a:p>
            <a:pPr algn="ctr" defTabSz="1219170">
              <a:lnSpc>
                <a:spcPct val="120000"/>
              </a:lnSpc>
            </a:pPr>
            <a:r>
              <a:rPr lang="de-DE" sz="1867">
                <a:solidFill>
                  <a:srgbClr val="002855"/>
                </a:solidFill>
                <a:latin typeface="Arial"/>
              </a:rPr>
              <a:t>90% </a:t>
            </a:r>
            <a:r>
              <a:rPr lang="de-DE" sz="1867" err="1">
                <a:solidFill>
                  <a:srgbClr val="002855"/>
                </a:solidFill>
                <a:latin typeface="Arial"/>
              </a:rPr>
              <a:t>aclaramiento</a:t>
            </a:r>
            <a:r>
              <a:rPr lang="de-DE" sz="1867">
                <a:solidFill>
                  <a:srgbClr val="002855"/>
                </a:solidFill>
                <a:latin typeface="Arial"/>
              </a:rPr>
              <a:t>/</a:t>
            </a:r>
            <a:r>
              <a:rPr lang="de-DE" sz="1867" err="1">
                <a:solidFill>
                  <a:srgbClr val="002855"/>
                </a:solidFill>
                <a:latin typeface="Arial"/>
              </a:rPr>
              <a:t>lesión</a:t>
            </a:r>
            <a:endParaRPr lang="de-DE" sz="1867">
              <a:solidFill>
                <a:srgbClr val="002855"/>
              </a:solidFill>
              <a:latin typeface="Arial"/>
            </a:endParaRPr>
          </a:p>
          <a:p>
            <a:pPr algn="ctr" defTabSz="1219170">
              <a:lnSpc>
                <a:spcPct val="120000"/>
              </a:lnSpc>
            </a:pPr>
            <a:r>
              <a:rPr lang="de-DE" sz="1867">
                <a:solidFill>
                  <a:srgbClr val="002855"/>
                </a:solidFill>
                <a:latin typeface="Arial"/>
              </a:rPr>
              <a:t>0.9</a:t>
            </a:r>
            <a:r>
              <a:rPr lang="de-DE" sz="1867" baseline="30000">
                <a:solidFill>
                  <a:srgbClr val="002855"/>
                </a:solidFill>
                <a:latin typeface="Arial"/>
              </a:rPr>
              <a:t>1</a:t>
            </a:r>
            <a:r>
              <a:rPr lang="de-DE" sz="1867">
                <a:solidFill>
                  <a:srgbClr val="002855"/>
                </a:solidFill>
                <a:latin typeface="Arial"/>
              </a:rPr>
              <a:t> = </a:t>
            </a:r>
            <a:r>
              <a:rPr lang="de-DE" sz="1867" b="1">
                <a:solidFill>
                  <a:srgbClr val="002855"/>
                </a:solidFill>
                <a:latin typeface="Arial"/>
              </a:rPr>
              <a:t>90% </a:t>
            </a:r>
            <a:r>
              <a:rPr lang="de-DE" sz="1867" b="1" err="1">
                <a:solidFill>
                  <a:srgbClr val="002855"/>
                </a:solidFill>
                <a:latin typeface="Arial"/>
              </a:rPr>
              <a:t>probabilidad</a:t>
            </a:r>
            <a:endParaRPr lang="de-DE" sz="1867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9" name="Textfeld 36">
            <a:extLst>
              <a:ext uri="{FF2B5EF4-FFF2-40B4-BE49-F238E27FC236}">
                <a16:creationId xmlns:a16="http://schemas.microsoft.com/office/drawing/2014/main" id="{A3D09509-3C22-1B02-7303-82AFB08D70ED}"/>
              </a:ext>
            </a:extLst>
          </p:cNvPr>
          <p:cNvSpPr txBox="1"/>
          <p:nvPr/>
        </p:nvSpPr>
        <p:spPr>
          <a:xfrm>
            <a:off x="4352080" y="4743838"/>
            <a:ext cx="3566899" cy="1147928"/>
          </a:xfrm>
          <a:prstGeom prst="round2SameRect">
            <a:avLst>
              <a:gd name="adj1" fmla="val 0"/>
              <a:gd name="adj2" fmla="val 17835"/>
            </a:avLst>
          </a:prstGeom>
          <a:solidFill>
            <a:schemeClr val="bg1">
              <a:lumMod val="95000"/>
            </a:schemeClr>
          </a:solidFill>
        </p:spPr>
        <p:txBody>
          <a:bodyPr wrap="square" lIns="60960" rIns="60960" rtlCol="0" anchor="b">
            <a:spAutoFit/>
          </a:bodyPr>
          <a:lstStyle/>
          <a:p>
            <a:pPr algn="ctr" defTabSz="1219170">
              <a:lnSpc>
                <a:spcPct val="120000"/>
              </a:lnSpc>
            </a:pP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5 </a:t>
            </a:r>
            <a:r>
              <a:rPr lang="de-DE" sz="1867" err="1">
                <a:solidFill>
                  <a:srgbClr val="002855">
                    <a:lumMod val="75000"/>
                  </a:srgbClr>
                </a:solidFill>
                <a:latin typeface="Arial"/>
              </a:rPr>
              <a:t>lesiones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in 25 cm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2</a:t>
            </a:r>
          </a:p>
          <a:p>
            <a:pPr algn="ctr" defTabSz="1219170">
              <a:lnSpc>
                <a:spcPct val="120000"/>
              </a:lnSpc>
            </a:pP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90% </a:t>
            </a:r>
            <a:r>
              <a:rPr lang="de-DE" sz="1867" err="1">
                <a:solidFill>
                  <a:srgbClr val="002855"/>
                </a:solidFill>
                <a:latin typeface="Arial"/>
              </a:rPr>
              <a:t>aclaramiento</a:t>
            </a:r>
            <a:r>
              <a:rPr lang="de-DE" sz="1867">
                <a:solidFill>
                  <a:srgbClr val="002855"/>
                </a:solidFill>
                <a:latin typeface="Arial"/>
              </a:rPr>
              <a:t>/</a:t>
            </a:r>
            <a:r>
              <a:rPr lang="de-DE" sz="1867" err="1">
                <a:solidFill>
                  <a:srgbClr val="002855"/>
                </a:solidFill>
                <a:latin typeface="Arial"/>
              </a:rPr>
              <a:t>lesión</a:t>
            </a:r>
            <a:endParaRPr lang="de-DE" sz="1867">
              <a:solidFill>
                <a:srgbClr val="002855"/>
              </a:solidFill>
              <a:latin typeface="Arial"/>
            </a:endParaRPr>
          </a:p>
          <a:p>
            <a:pPr algn="ctr" defTabSz="1219170">
              <a:lnSpc>
                <a:spcPct val="120000"/>
              </a:lnSpc>
            </a:pP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0.9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5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= </a:t>
            </a:r>
            <a:r>
              <a:rPr lang="de-DE" sz="1867" b="1">
                <a:solidFill>
                  <a:srgbClr val="002855">
                    <a:lumMod val="75000"/>
                  </a:srgbClr>
                </a:solidFill>
                <a:latin typeface="Arial"/>
              </a:rPr>
              <a:t>59% </a:t>
            </a:r>
            <a:r>
              <a:rPr lang="de-DE" sz="1867" b="1" err="1">
                <a:solidFill>
                  <a:srgbClr val="002855"/>
                </a:solidFill>
                <a:latin typeface="Arial"/>
              </a:rPr>
              <a:t>probabilidad</a:t>
            </a:r>
            <a:endParaRPr lang="de-DE" sz="1867" b="1">
              <a:solidFill>
                <a:srgbClr val="002855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Textfeld 36">
            <a:extLst>
              <a:ext uri="{FF2B5EF4-FFF2-40B4-BE49-F238E27FC236}">
                <a16:creationId xmlns:a16="http://schemas.microsoft.com/office/drawing/2014/main" id="{2F2D0C2C-E36A-6B28-A672-59112D79F452}"/>
              </a:ext>
            </a:extLst>
          </p:cNvPr>
          <p:cNvSpPr txBox="1"/>
          <p:nvPr/>
        </p:nvSpPr>
        <p:spPr>
          <a:xfrm>
            <a:off x="8264324" y="4743838"/>
            <a:ext cx="3560435" cy="1147928"/>
          </a:xfrm>
          <a:prstGeom prst="round2SameRect">
            <a:avLst>
              <a:gd name="adj1" fmla="val 0"/>
              <a:gd name="adj2" fmla="val 17835"/>
            </a:avLst>
          </a:prstGeom>
          <a:solidFill>
            <a:schemeClr val="bg1">
              <a:lumMod val="95000"/>
            </a:schemeClr>
          </a:solidFill>
        </p:spPr>
        <p:txBody>
          <a:bodyPr wrap="square" lIns="60960" rIns="60960" rtlCol="0" anchor="b">
            <a:spAutoFit/>
          </a:bodyPr>
          <a:lstStyle/>
          <a:p>
            <a:pPr algn="ctr" defTabSz="1219170">
              <a:lnSpc>
                <a:spcPct val="120000"/>
              </a:lnSpc>
            </a:pP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20 </a:t>
            </a:r>
            <a:r>
              <a:rPr lang="de-DE" sz="1867" err="1">
                <a:solidFill>
                  <a:srgbClr val="002855">
                    <a:lumMod val="75000"/>
                  </a:srgbClr>
                </a:solidFill>
                <a:latin typeface="Arial"/>
              </a:rPr>
              <a:t>lesiones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in 100 cm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2</a:t>
            </a:r>
          </a:p>
          <a:p>
            <a:pPr algn="ctr" defTabSz="1219170">
              <a:lnSpc>
                <a:spcPct val="120000"/>
              </a:lnSpc>
            </a:pP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90% </a:t>
            </a:r>
            <a:r>
              <a:rPr lang="de-DE" sz="1867" err="1">
                <a:solidFill>
                  <a:srgbClr val="002855"/>
                </a:solidFill>
                <a:latin typeface="Arial"/>
              </a:rPr>
              <a:t>aclaramiento</a:t>
            </a:r>
            <a:r>
              <a:rPr lang="de-DE" sz="1867">
                <a:solidFill>
                  <a:srgbClr val="002855"/>
                </a:solidFill>
                <a:latin typeface="Arial"/>
              </a:rPr>
              <a:t>/</a:t>
            </a:r>
            <a:r>
              <a:rPr lang="de-DE" sz="1867" err="1">
                <a:solidFill>
                  <a:srgbClr val="002855"/>
                </a:solidFill>
                <a:latin typeface="Arial"/>
              </a:rPr>
              <a:t>lesión</a:t>
            </a:r>
            <a:endParaRPr lang="de-DE" sz="1867">
              <a:solidFill>
                <a:srgbClr val="002855"/>
              </a:solidFill>
              <a:latin typeface="Arial"/>
            </a:endParaRPr>
          </a:p>
          <a:p>
            <a:pPr algn="ctr" defTabSz="1219170">
              <a:lnSpc>
                <a:spcPct val="120000"/>
              </a:lnSpc>
            </a:pP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0.9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20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= </a:t>
            </a:r>
            <a:r>
              <a:rPr lang="de-DE" sz="1867" b="1">
                <a:solidFill>
                  <a:srgbClr val="002855">
                    <a:lumMod val="75000"/>
                  </a:srgbClr>
                </a:solidFill>
                <a:latin typeface="Arial"/>
              </a:rPr>
              <a:t>12% </a:t>
            </a:r>
            <a:r>
              <a:rPr lang="de-DE" sz="1867" b="1" err="1">
                <a:solidFill>
                  <a:srgbClr val="002855"/>
                </a:solidFill>
                <a:latin typeface="Arial"/>
              </a:rPr>
              <a:t>probabilidad</a:t>
            </a:r>
            <a:endParaRPr lang="de-DE" sz="1867" b="1">
              <a:solidFill>
                <a:srgbClr val="002855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1" name="Rechteck 4">
            <a:extLst>
              <a:ext uri="{FF2B5EF4-FFF2-40B4-BE49-F238E27FC236}">
                <a16:creationId xmlns:a16="http://schemas.microsoft.com/office/drawing/2014/main" id="{2EF7F5A1-E72F-C025-28BD-57F912B06FE4}"/>
              </a:ext>
            </a:extLst>
          </p:cNvPr>
          <p:cNvSpPr>
            <a:spLocks noChangeAspect="1"/>
          </p:cNvSpPr>
          <p:nvPr/>
        </p:nvSpPr>
        <p:spPr>
          <a:xfrm>
            <a:off x="1401488" y="2459754"/>
            <a:ext cx="1637553" cy="1637553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Stern mit 5 Zacken 8">
            <a:extLst>
              <a:ext uri="{FF2B5EF4-FFF2-40B4-BE49-F238E27FC236}">
                <a16:creationId xmlns:a16="http://schemas.microsoft.com/office/drawing/2014/main" id="{551DDF59-9226-0BE5-DDD9-59403339F17E}"/>
              </a:ext>
            </a:extLst>
          </p:cNvPr>
          <p:cNvSpPr/>
          <p:nvPr/>
        </p:nvSpPr>
        <p:spPr>
          <a:xfrm>
            <a:off x="1592734" y="3141071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echteck 5">
            <a:extLst>
              <a:ext uri="{FF2B5EF4-FFF2-40B4-BE49-F238E27FC236}">
                <a16:creationId xmlns:a16="http://schemas.microsoft.com/office/drawing/2014/main" id="{4579413A-DA33-DE49-CDAB-9FDD1A7DC275}"/>
              </a:ext>
            </a:extLst>
          </p:cNvPr>
          <p:cNvSpPr>
            <a:spLocks noChangeAspect="1"/>
          </p:cNvSpPr>
          <p:nvPr/>
        </p:nvSpPr>
        <p:spPr>
          <a:xfrm>
            <a:off x="5277224" y="2459754"/>
            <a:ext cx="1637553" cy="1637553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Stern mit 5 Zacken 10">
            <a:extLst>
              <a:ext uri="{FF2B5EF4-FFF2-40B4-BE49-F238E27FC236}">
                <a16:creationId xmlns:a16="http://schemas.microsoft.com/office/drawing/2014/main" id="{7BA5A503-AD04-7A16-C255-DC47003B9424}"/>
              </a:ext>
            </a:extLst>
          </p:cNvPr>
          <p:cNvSpPr/>
          <p:nvPr/>
        </p:nvSpPr>
        <p:spPr>
          <a:xfrm>
            <a:off x="5372846" y="2567331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Stern mit 5 Zacken 11">
            <a:extLst>
              <a:ext uri="{FF2B5EF4-FFF2-40B4-BE49-F238E27FC236}">
                <a16:creationId xmlns:a16="http://schemas.microsoft.com/office/drawing/2014/main" id="{FF68A74F-DE77-7858-FCD4-BEAABC8C20B4}"/>
              </a:ext>
            </a:extLst>
          </p:cNvPr>
          <p:cNvSpPr/>
          <p:nvPr/>
        </p:nvSpPr>
        <p:spPr>
          <a:xfrm>
            <a:off x="5719481" y="2746624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Stern mit 5 Zacken 12">
            <a:extLst>
              <a:ext uri="{FF2B5EF4-FFF2-40B4-BE49-F238E27FC236}">
                <a16:creationId xmlns:a16="http://schemas.microsoft.com/office/drawing/2014/main" id="{5FE679D3-775A-D3FB-C83F-3E573382E2B2}"/>
              </a:ext>
            </a:extLst>
          </p:cNvPr>
          <p:cNvSpPr/>
          <p:nvPr/>
        </p:nvSpPr>
        <p:spPr>
          <a:xfrm>
            <a:off x="5462494" y="3421966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Stern mit 5 Zacken 13">
            <a:extLst>
              <a:ext uri="{FF2B5EF4-FFF2-40B4-BE49-F238E27FC236}">
                <a16:creationId xmlns:a16="http://schemas.microsoft.com/office/drawing/2014/main" id="{162CDF71-4B3A-845F-BDD4-9FC04ADB1177}"/>
              </a:ext>
            </a:extLst>
          </p:cNvPr>
          <p:cNvSpPr/>
          <p:nvPr/>
        </p:nvSpPr>
        <p:spPr>
          <a:xfrm>
            <a:off x="6508374" y="2591234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Stern mit 5 Zacken 14">
            <a:extLst>
              <a:ext uri="{FF2B5EF4-FFF2-40B4-BE49-F238E27FC236}">
                <a16:creationId xmlns:a16="http://schemas.microsoft.com/office/drawing/2014/main" id="{042F80D1-B4BA-33DB-3924-5EEF72D463AB}"/>
              </a:ext>
            </a:extLst>
          </p:cNvPr>
          <p:cNvSpPr/>
          <p:nvPr/>
        </p:nvSpPr>
        <p:spPr>
          <a:xfrm>
            <a:off x="6281270" y="3619187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11CC1331-CF64-0A65-17B7-FF3EA6D63FC1}"/>
              </a:ext>
            </a:extLst>
          </p:cNvPr>
          <p:cNvGrpSpPr/>
          <p:nvPr/>
        </p:nvGrpSpPr>
        <p:grpSpPr>
          <a:xfrm>
            <a:off x="8692608" y="1855955"/>
            <a:ext cx="2775701" cy="2775699"/>
            <a:chOff x="8646308" y="1890680"/>
            <a:chExt cx="2775701" cy="2775699"/>
          </a:xfrm>
        </p:grpSpPr>
        <p:sp>
          <p:nvSpPr>
            <p:cNvPr id="20" name="Rechteck 6">
              <a:extLst>
                <a:ext uri="{FF2B5EF4-FFF2-40B4-BE49-F238E27FC236}">
                  <a16:creationId xmlns:a16="http://schemas.microsoft.com/office/drawing/2014/main" id="{EE23C3A6-A23E-BABA-819F-DE122A178D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46308" y="1890680"/>
              <a:ext cx="2775701" cy="2775699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" name="Stern mit 5 Zacken 15">
              <a:extLst>
                <a:ext uri="{FF2B5EF4-FFF2-40B4-BE49-F238E27FC236}">
                  <a16:creationId xmlns:a16="http://schemas.microsoft.com/office/drawing/2014/main" id="{665C881D-4849-BEC2-F742-EAC044DDFF1A}"/>
                </a:ext>
              </a:extLst>
            </p:cNvPr>
            <p:cNvSpPr/>
            <p:nvPr/>
          </p:nvSpPr>
          <p:spPr>
            <a:xfrm>
              <a:off x="9090417" y="2248994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2" name="Stern mit 5 Zacken 16">
              <a:extLst>
                <a:ext uri="{FF2B5EF4-FFF2-40B4-BE49-F238E27FC236}">
                  <a16:creationId xmlns:a16="http://schemas.microsoft.com/office/drawing/2014/main" id="{DE08117E-BD1E-E619-2D1E-F3C73F933080}"/>
                </a:ext>
              </a:extLst>
            </p:cNvPr>
            <p:cNvSpPr/>
            <p:nvPr/>
          </p:nvSpPr>
          <p:spPr>
            <a:xfrm>
              <a:off x="10836588" y="2087497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" name="Stern mit 5 Zacken 17">
              <a:extLst>
                <a:ext uri="{FF2B5EF4-FFF2-40B4-BE49-F238E27FC236}">
                  <a16:creationId xmlns:a16="http://schemas.microsoft.com/office/drawing/2014/main" id="{F7DECD0A-55F8-CD86-415E-DF4AEA2EDDD9}"/>
                </a:ext>
              </a:extLst>
            </p:cNvPr>
            <p:cNvSpPr/>
            <p:nvPr/>
          </p:nvSpPr>
          <p:spPr>
            <a:xfrm>
              <a:off x="10836584" y="4101128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" name="Stern mit 5 Zacken 18">
              <a:extLst>
                <a:ext uri="{FF2B5EF4-FFF2-40B4-BE49-F238E27FC236}">
                  <a16:creationId xmlns:a16="http://schemas.microsoft.com/office/drawing/2014/main" id="{AF3DA98C-66C4-04D9-32AB-77A446C6EA53}"/>
                </a:ext>
              </a:extLst>
            </p:cNvPr>
            <p:cNvSpPr/>
            <p:nvPr/>
          </p:nvSpPr>
          <p:spPr>
            <a:xfrm>
              <a:off x="8984436" y="2667865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5" name="Stern mit 5 Zacken 19">
              <a:extLst>
                <a:ext uri="{FF2B5EF4-FFF2-40B4-BE49-F238E27FC236}">
                  <a16:creationId xmlns:a16="http://schemas.microsoft.com/office/drawing/2014/main" id="{BB434758-2127-A90D-C4C8-FFE7C8013020}"/>
                </a:ext>
              </a:extLst>
            </p:cNvPr>
            <p:cNvSpPr/>
            <p:nvPr/>
          </p:nvSpPr>
          <p:spPr>
            <a:xfrm>
              <a:off x="9090417" y="3086737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6" name="Stern mit 5 Zacken 20">
              <a:extLst>
                <a:ext uri="{FF2B5EF4-FFF2-40B4-BE49-F238E27FC236}">
                  <a16:creationId xmlns:a16="http://schemas.microsoft.com/office/drawing/2014/main" id="{87A16387-FA9C-C439-AB00-68287816A638}"/>
                </a:ext>
              </a:extLst>
            </p:cNvPr>
            <p:cNvSpPr/>
            <p:nvPr/>
          </p:nvSpPr>
          <p:spPr>
            <a:xfrm>
              <a:off x="9362943" y="2107686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7" name="Stern mit 5 Zacken 21">
              <a:extLst>
                <a:ext uri="{FF2B5EF4-FFF2-40B4-BE49-F238E27FC236}">
                  <a16:creationId xmlns:a16="http://schemas.microsoft.com/office/drawing/2014/main" id="{BAC8555A-5CDA-BF78-5A8F-8C55A7A7A057}"/>
                </a:ext>
              </a:extLst>
            </p:cNvPr>
            <p:cNvSpPr/>
            <p:nvPr/>
          </p:nvSpPr>
          <p:spPr>
            <a:xfrm>
              <a:off x="10241073" y="2486190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8" name="Stern mit 5 Zacken 22">
              <a:extLst>
                <a:ext uri="{FF2B5EF4-FFF2-40B4-BE49-F238E27FC236}">
                  <a16:creationId xmlns:a16="http://schemas.microsoft.com/office/drawing/2014/main" id="{1BB26C8E-DD3B-C3E0-2BBA-AC7BD46C32A8}"/>
                </a:ext>
              </a:extLst>
            </p:cNvPr>
            <p:cNvSpPr/>
            <p:nvPr/>
          </p:nvSpPr>
          <p:spPr>
            <a:xfrm>
              <a:off x="10998072" y="3604018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" name="Stern mit 5 Zacken 23">
              <a:extLst>
                <a:ext uri="{FF2B5EF4-FFF2-40B4-BE49-F238E27FC236}">
                  <a16:creationId xmlns:a16="http://schemas.microsoft.com/office/drawing/2014/main" id="{9AA34E99-A013-4BF2-BFCE-C377BBC1974E}"/>
                </a:ext>
              </a:extLst>
            </p:cNvPr>
            <p:cNvSpPr/>
            <p:nvPr/>
          </p:nvSpPr>
          <p:spPr>
            <a:xfrm>
              <a:off x="8759855" y="1986565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" name="Stern mit 5 Zacken 24">
              <a:extLst>
                <a:ext uri="{FF2B5EF4-FFF2-40B4-BE49-F238E27FC236}">
                  <a16:creationId xmlns:a16="http://schemas.microsoft.com/office/drawing/2014/main" id="{AF383E99-7451-4A2C-D5EA-F63270DCBE9C}"/>
                </a:ext>
              </a:extLst>
            </p:cNvPr>
            <p:cNvSpPr/>
            <p:nvPr/>
          </p:nvSpPr>
          <p:spPr>
            <a:xfrm>
              <a:off x="9781817" y="2526525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" name="Stern mit 5 Zacken 25">
              <a:extLst>
                <a:ext uri="{FF2B5EF4-FFF2-40B4-BE49-F238E27FC236}">
                  <a16:creationId xmlns:a16="http://schemas.microsoft.com/office/drawing/2014/main" id="{4C9E4306-310C-4CD4-7713-1CA2FD1B496A}"/>
                </a:ext>
              </a:extLst>
            </p:cNvPr>
            <p:cNvSpPr/>
            <p:nvPr/>
          </p:nvSpPr>
          <p:spPr>
            <a:xfrm>
              <a:off x="10786109" y="3815981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" name="Stern mit 5 Zacken 26">
              <a:extLst>
                <a:ext uri="{FF2B5EF4-FFF2-40B4-BE49-F238E27FC236}">
                  <a16:creationId xmlns:a16="http://schemas.microsoft.com/office/drawing/2014/main" id="{20A6990A-9629-CD13-FAA0-953028577E5F}"/>
                </a:ext>
              </a:extLst>
            </p:cNvPr>
            <p:cNvSpPr/>
            <p:nvPr/>
          </p:nvSpPr>
          <p:spPr>
            <a:xfrm>
              <a:off x="10468169" y="2143013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3" name="Stern mit 5 Zacken 27">
              <a:extLst>
                <a:ext uri="{FF2B5EF4-FFF2-40B4-BE49-F238E27FC236}">
                  <a16:creationId xmlns:a16="http://schemas.microsoft.com/office/drawing/2014/main" id="{8B3F39F4-563C-FFBB-5BF0-0DB72EE3C274}"/>
                </a:ext>
              </a:extLst>
            </p:cNvPr>
            <p:cNvSpPr/>
            <p:nvPr/>
          </p:nvSpPr>
          <p:spPr>
            <a:xfrm>
              <a:off x="10836584" y="2450852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4" name="Stern mit 5 Zacken 28">
              <a:extLst>
                <a:ext uri="{FF2B5EF4-FFF2-40B4-BE49-F238E27FC236}">
                  <a16:creationId xmlns:a16="http://schemas.microsoft.com/office/drawing/2014/main" id="{EA4F4EC4-3810-0F1A-2883-515601065BB9}"/>
                </a:ext>
              </a:extLst>
            </p:cNvPr>
            <p:cNvSpPr/>
            <p:nvPr/>
          </p:nvSpPr>
          <p:spPr>
            <a:xfrm>
              <a:off x="9506772" y="2748600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5" name="Stern mit 5 Zacken 29">
              <a:extLst>
                <a:ext uri="{FF2B5EF4-FFF2-40B4-BE49-F238E27FC236}">
                  <a16:creationId xmlns:a16="http://schemas.microsoft.com/office/drawing/2014/main" id="{93108B62-C104-5C06-0E65-C10AD0EE22FE}"/>
                </a:ext>
              </a:extLst>
            </p:cNvPr>
            <p:cNvSpPr/>
            <p:nvPr/>
          </p:nvSpPr>
          <p:spPr>
            <a:xfrm>
              <a:off x="9468919" y="3856370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6" name="Stern mit 5 Zacken 30">
              <a:extLst>
                <a:ext uri="{FF2B5EF4-FFF2-40B4-BE49-F238E27FC236}">
                  <a16:creationId xmlns:a16="http://schemas.microsoft.com/office/drawing/2014/main" id="{0644AC5E-DC93-EA20-5B11-607A01533A73}"/>
                </a:ext>
              </a:extLst>
            </p:cNvPr>
            <p:cNvSpPr/>
            <p:nvPr/>
          </p:nvSpPr>
          <p:spPr>
            <a:xfrm>
              <a:off x="10039203" y="3604020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" name="Stern mit 5 Zacken 31">
              <a:extLst>
                <a:ext uri="{FF2B5EF4-FFF2-40B4-BE49-F238E27FC236}">
                  <a16:creationId xmlns:a16="http://schemas.microsoft.com/office/drawing/2014/main" id="{91D15ED5-AC6F-FA6E-87C9-1E3BE617F850}"/>
                </a:ext>
              </a:extLst>
            </p:cNvPr>
            <p:cNvSpPr/>
            <p:nvPr/>
          </p:nvSpPr>
          <p:spPr>
            <a:xfrm>
              <a:off x="10533779" y="2839453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8" name="Stern mit 5 Zacken 32">
              <a:extLst>
                <a:ext uri="{FF2B5EF4-FFF2-40B4-BE49-F238E27FC236}">
                  <a16:creationId xmlns:a16="http://schemas.microsoft.com/office/drawing/2014/main" id="{8922B937-12A4-45A9-0811-1AD20E81F549}"/>
                </a:ext>
              </a:extLst>
            </p:cNvPr>
            <p:cNvSpPr/>
            <p:nvPr/>
          </p:nvSpPr>
          <p:spPr>
            <a:xfrm>
              <a:off x="10079577" y="4136464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9" name="Stern mit 5 Zacken 33">
              <a:extLst>
                <a:ext uri="{FF2B5EF4-FFF2-40B4-BE49-F238E27FC236}">
                  <a16:creationId xmlns:a16="http://schemas.microsoft.com/office/drawing/2014/main" id="{475E9384-1D1F-36CF-ECD7-9E423CEFB264}"/>
                </a:ext>
              </a:extLst>
            </p:cNvPr>
            <p:cNvSpPr/>
            <p:nvPr/>
          </p:nvSpPr>
          <p:spPr>
            <a:xfrm>
              <a:off x="9256961" y="4313090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Stern mit 5 Zacken 34">
              <a:extLst>
                <a:ext uri="{FF2B5EF4-FFF2-40B4-BE49-F238E27FC236}">
                  <a16:creationId xmlns:a16="http://schemas.microsoft.com/office/drawing/2014/main" id="{D57BEC40-7A4E-1D81-146D-EEEAD07586D9}"/>
                </a:ext>
              </a:extLst>
            </p:cNvPr>
            <p:cNvSpPr/>
            <p:nvPr/>
          </p:nvSpPr>
          <p:spPr>
            <a:xfrm>
              <a:off x="9050043" y="3927030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77094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4FBE090-D030-DF94-FB6E-F9B0AE91B45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8D23AE86-9738-2BDB-9837-38C414274384}"/>
              </a:ext>
            </a:extLst>
          </p:cNvPr>
          <p:cNvSpPr txBox="1">
            <a:spLocks/>
          </p:cNvSpPr>
          <p:nvPr/>
        </p:nvSpPr>
        <p:spPr>
          <a:xfrm>
            <a:off x="432000" y="387617"/>
            <a:ext cx="11381117" cy="88559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600" b="1">
                <a:solidFill>
                  <a:srgbClr val="E63D42"/>
                </a:solidFill>
              </a:rPr>
              <a:t>La </a:t>
            </a:r>
            <a:r>
              <a:rPr lang="en-US" sz="2600" b="1" err="1">
                <a:solidFill>
                  <a:srgbClr val="E63D42"/>
                </a:solidFill>
              </a:rPr>
              <a:t>eficacia</a:t>
            </a:r>
            <a:r>
              <a:rPr lang="en-US" sz="2600" b="1">
                <a:solidFill>
                  <a:srgbClr val="E63D42"/>
                </a:solidFill>
              </a:rPr>
              <a:t> </a:t>
            </a:r>
            <a:r>
              <a:rPr lang="en-US" sz="2600" b="1" err="1">
                <a:solidFill>
                  <a:srgbClr val="E63D42"/>
                </a:solidFill>
              </a:rPr>
              <a:t>depende</a:t>
            </a:r>
            <a:r>
              <a:rPr lang="en-US" sz="2600" b="1">
                <a:solidFill>
                  <a:srgbClr val="E63D42"/>
                </a:solidFill>
              </a:rPr>
              <a:t> del </a:t>
            </a:r>
            <a:r>
              <a:rPr lang="en-US" sz="2600" b="1" err="1">
                <a:solidFill>
                  <a:srgbClr val="E63D42"/>
                </a:solidFill>
              </a:rPr>
              <a:t>número</a:t>
            </a:r>
            <a:r>
              <a:rPr lang="en-US" sz="2600" b="1">
                <a:solidFill>
                  <a:srgbClr val="E63D42"/>
                </a:solidFill>
              </a:rPr>
              <a:t> de </a:t>
            </a:r>
            <a:r>
              <a:rPr lang="en-US" sz="2600" b="1" err="1">
                <a:solidFill>
                  <a:srgbClr val="E63D42"/>
                </a:solidFill>
              </a:rPr>
              <a:t>lesiones</a:t>
            </a:r>
            <a:endParaRPr lang="en-US" sz="2600" b="1">
              <a:solidFill>
                <a:srgbClr val="E63D42"/>
              </a:solidFill>
            </a:endParaRPr>
          </a:p>
          <a:p>
            <a:pPr marL="450850" indent="-450850">
              <a:buFont typeface="Wingdings" panose="05000000000000000000" pitchFamily="2" charset="2"/>
              <a:buChar char="ü"/>
            </a:pPr>
            <a:r>
              <a:rPr lang="en-US" sz="2400" b="1" err="1">
                <a:solidFill>
                  <a:srgbClr val="002060"/>
                </a:solidFill>
              </a:rPr>
              <a:t>Riesgo</a:t>
            </a:r>
            <a:r>
              <a:rPr lang="en-US" sz="2400" b="1">
                <a:solidFill>
                  <a:srgbClr val="002060"/>
                </a:solidFill>
              </a:rPr>
              <a:t> de CCE: 0.025 a 16% </a:t>
            </a:r>
            <a:r>
              <a:rPr lang="en-US" sz="2400" b="1" err="1">
                <a:solidFill>
                  <a:srgbClr val="002060"/>
                </a:solidFill>
              </a:rPr>
              <a:t>por</a:t>
            </a:r>
            <a:r>
              <a:rPr lang="en-US" sz="2400" b="1">
                <a:solidFill>
                  <a:srgbClr val="002060"/>
                </a:solidFill>
              </a:rPr>
              <a:t> </a:t>
            </a:r>
            <a:r>
              <a:rPr lang="en-US" sz="2400" b="1" err="1">
                <a:solidFill>
                  <a:srgbClr val="002060"/>
                </a:solidFill>
              </a:rPr>
              <a:t>año</a:t>
            </a:r>
            <a:r>
              <a:rPr lang="en-US" sz="2400" b="1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BEBF00-3847-A765-A6E1-3392787ECB02}"/>
              </a:ext>
            </a:extLst>
          </p:cNvPr>
          <p:cNvSpPr txBox="1"/>
          <p:nvPr/>
        </p:nvSpPr>
        <p:spPr>
          <a:xfrm>
            <a:off x="404001" y="1652392"/>
            <a:ext cx="3815459" cy="4331971"/>
          </a:xfrm>
          <a:prstGeom prst="roundRect">
            <a:avLst>
              <a:gd name="adj" fmla="val 5134"/>
            </a:avLst>
          </a:prstGeom>
          <a:solidFill>
            <a:schemeClr val="bg1"/>
          </a:solidFill>
          <a:ln>
            <a:solidFill>
              <a:schemeClr val="tx1">
                <a:lumMod val="7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txBody>
          <a:bodyPr wrap="square" lIns="24384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182875" indent="-182875" algn="l" defTabSz="914262">
              <a:buFont typeface="Arial" panose="020B0604020202020204" pitchFamily="34" charset="0"/>
              <a:buChar char="•"/>
            </a:pPr>
            <a:endParaRPr lang="en-US" sz="1867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4E9A09-EDBC-3ABE-F102-36135717C9B3}"/>
              </a:ext>
            </a:extLst>
          </p:cNvPr>
          <p:cNvSpPr txBox="1"/>
          <p:nvPr/>
        </p:nvSpPr>
        <p:spPr>
          <a:xfrm>
            <a:off x="4326205" y="1652392"/>
            <a:ext cx="3695049" cy="4331971"/>
          </a:xfrm>
          <a:prstGeom prst="roundRect">
            <a:avLst>
              <a:gd name="adj" fmla="val 5134"/>
            </a:avLst>
          </a:prstGeom>
          <a:solidFill>
            <a:schemeClr val="bg1"/>
          </a:solidFill>
          <a:ln>
            <a:solidFill>
              <a:schemeClr val="tx1">
                <a:lumMod val="7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txBody>
          <a:bodyPr wrap="square" lIns="24384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182875" indent="-182875" algn="l" defTabSz="914262">
              <a:buFont typeface="Arial" panose="020B0604020202020204" pitchFamily="34" charset="0"/>
              <a:buChar char="•"/>
            </a:pPr>
            <a:endParaRPr lang="en-US" sz="1867"/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650B2282-49A8-3FE0-F647-BEEC9A2F6F28}"/>
              </a:ext>
            </a:extLst>
          </p:cNvPr>
          <p:cNvSpPr txBox="1"/>
          <p:nvPr/>
        </p:nvSpPr>
        <p:spPr>
          <a:xfrm>
            <a:off x="8125428" y="1652392"/>
            <a:ext cx="3692325" cy="4331971"/>
          </a:xfrm>
          <a:prstGeom prst="roundRect">
            <a:avLst>
              <a:gd name="adj" fmla="val 5134"/>
            </a:avLst>
          </a:prstGeom>
          <a:solidFill>
            <a:schemeClr val="bg1"/>
          </a:solidFill>
          <a:ln>
            <a:solidFill>
              <a:schemeClr val="tx1">
                <a:lumMod val="7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txBody>
          <a:bodyPr wrap="square" lIns="24384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182875" indent="-182875" algn="l" defTabSz="914262">
              <a:buFont typeface="Arial" panose="020B0604020202020204" pitchFamily="34" charset="0"/>
              <a:buChar char="•"/>
            </a:pPr>
            <a:endParaRPr lang="en-US" sz="1867"/>
          </a:p>
        </p:txBody>
      </p:sp>
      <p:sp>
        <p:nvSpPr>
          <p:cNvPr id="8" name="Textfeld 36">
            <a:extLst>
              <a:ext uri="{FF2B5EF4-FFF2-40B4-BE49-F238E27FC236}">
                <a16:creationId xmlns:a16="http://schemas.microsoft.com/office/drawing/2014/main" id="{E2065C09-6537-CD4B-434E-33782BE29BC1}"/>
              </a:ext>
            </a:extLst>
          </p:cNvPr>
          <p:cNvSpPr txBox="1"/>
          <p:nvPr/>
        </p:nvSpPr>
        <p:spPr>
          <a:xfrm>
            <a:off x="415576" y="5005414"/>
            <a:ext cx="3785234" cy="967978"/>
          </a:xfrm>
          <a:prstGeom prst="round2SameRect">
            <a:avLst>
              <a:gd name="adj1" fmla="val 0"/>
              <a:gd name="adj2" fmla="val 17835"/>
            </a:avLst>
          </a:prstGeom>
          <a:solidFill>
            <a:schemeClr val="bg1">
              <a:lumMod val="95000"/>
            </a:schemeClr>
          </a:solidFill>
        </p:spPr>
        <p:txBody>
          <a:bodyPr wrap="square" lIns="60960" rIns="60960" rtlCol="0" anchor="b">
            <a:spAutoFit/>
          </a:bodyPr>
          <a:lstStyle/>
          <a:p>
            <a:pPr defTabSz="1219170"/>
            <a:r>
              <a:rPr lang="de-DE">
                <a:solidFill>
                  <a:srgbClr val="002855">
                    <a:lumMod val="75000"/>
                  </a:srgbClr>
                </a:solidFill>
                <a:latin typeface="Arial"/>
              </a:rPr>
              <a:t>1 </a:t>
            </a:r>
            <a:r>
              <a:rPr lang="de-DE" err="1">
                <a:solidFill>
                  <a:srgbClr val="002855">
                    <a:lumMod val="75000"/>
                  </a:srgbClr>
                </a:solidFill>
                <a:latin typeface="Arial"/>
              </a:rPr>
              <a:t>lesión</a:t>
            </a:r>
            <a:r>
              <a:rPr lang="de-DE">
                <a:solidFill>
                  <a:srgbClr val="002855">
                    <a:lumMod val="75000"/>
                  </a:srgbClr>
                </a:solidFill>
                <a:latin typeface="Arial"/>
              </a:rPr>
              <a:t> en 25 cm</a:t>
            </a:r>
            <a:r>
              <a:rPr lang="de-DE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2</a:t>
            </a:r>
          </a:p>
          <a:p>
            <a:pPr defTabSz="1219170"/>
            <a:r>
              <a:rPr lang="de-DE">
                <a:solidFill>
                  <a:srgbClr val="002855">
                    <a:lumMod val="75000"/>
                  </a:srgbClr>
                </a:solidFill>
                <a:latin typeface="Arial"/>
              </a:rPr>
              <a:t>16%:   1-0.84</a:t>
            </a:r>
            <a:r>
              <a:rPr lang="de-DE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1</a:t>
            </a:r>
            <a:r>
              <a:rPr lang="de-DE">
                <a:solidFill>
                  <a:srgbClr val="002855">
                    <a:lumMod val="75000"/>
                  </a:srgbClr>
                </a:solidFill>
                <a:latin typeface="Arial"/>
              </a:rPr>
              <a:t>  = 16% </a:t>
            </a:r>
            <a:r>
              <a:rPr lang="de-DE" err="1">
                <a:solidFill>
                  <a:srgbClr val="002855">
                    <a:lumMod val="75000"/>
                  </a:srgbClr>
                </a:solidFill>
                <a:latin typeface="Arial"/>
              </a:rPr>
              <a:t>riesgo</a:t>
            </a:r>
            <a:endParaRPr lang="de-DE">
              <a:solidFill>
                <a:srgbClr val="002855">
                  <a:lumMod val="75000"/>
                </a:srgbClr>
              </a:solidFill>
              <a:latin typeface="Arial"/>
            </a:endParaRPr>
          </a:p>
          <a:p>
            <a:pPr defTabSz="1219170"/>
            <a:r>
              <a:rPr lang="de-DE">
                <a:solidFill>
                  <a:srgbClr val="002855">
                    <a:lumMod val="75000"/>
                  </a:srgbClr>
                </a:solidFill>
                <a:latin typeface="Arial"/>
              </a:rPr>
              <a:t>0.025%: 1-0.975</a:t>
            </a:r>
            <a:r>
              <a:rPr lang="de-DE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1</a:t>
            </a:r>
            <a:r>
              <a:rPr lang="de-DE">
                <a:solidFill>
                  <a:srgbClr val="002855">
                    <a:lumMod val="75000"/>
                  </a:srgbClr>
                </a:solidFill>
                <a:latin typeface="Arial"/>
              </a:rPr>
              <a:t> = </a:t>
            </a:r>
            <a:r>
              <a:rPr lang="de-DE" b="1">
                <a:solidFill>
                  <a:srgbClr val="002855">
                    <a:lumMod val="75000"/>
                  </a:srgbClr>
                </a:solidFill>
                <a:latin typeface="Arial"/>
              </a:rPr>
              <a:t>0.025% </a:t>
            </a:r>
            <a:r>
              <a:rPr lang="de-DE" b="1" err="1">
                <a:solidFill>
                  <a:srgbClr val="002855">
                    <a:lumMod val="75000"/>
                  </a:srgbClr>
                </a:solidFill>
                <a:latin typeface="Arial"/>
              </a:rPr>
              <a:t>riesgo</a:t>
            </a:r>
            <a:endParaRPr lang="de-DE" b="1">
              <a:solidFill>
                <a:srgbClr val="002855">
                  <a:lumMod val="75000"/>
                </a:srgbClr>
              </a:solidFill>
              <a:latin typeface="Arial"/>
            </a:endParaRPr>
          </a:p>
        </p:txBody>
      </p:sp>
      <p:sp>
        <p:nvSpPr>
          <p:cNvPr id="9" name="Textfeld 36">
            <a:extLst>
              <a:ext uri="{FF2B5EF4-FFF2-40B4-BE49-F238E27FC236}">
                <a16:creationId xmlns:a16="http://schemas.microsoft.com/office/drawing/2014/main" id="{C28CCB2F-253D-F51A-C6E0-9251EFFFC31D}"/>
              </a:ext>
            </a:extLst>
          </p:cNvPr>
          <p:cNvSpPr txBox="1"/>
          <p:nvPr/>
        </p:nvSpPr>
        <p:spPr>
          <a:xfrm>
            <a:off x="4363655" y="4983917"/>
            <a:ext cx="3657599" cy="1000446"/>
          </a:xfrm>
          <a:prstGeom prst="round2SameRect">
            <a:avLst>
              <a:gd name="adj1" fmla="val 0"/>
              <a:gd name="adj2" fmla="val 17835"/>
            </a:avLst>
          </a:prstGeom>
          <a:solidFill>
            <a:schemeClr val="bg1">
              <a:lumMod val="95000"/>
            </a:schemeClr>
          </a:solidFill>
        </p:spPr>
        <p:txBody>
          <a:bodyPr wrap="square" lIns="60960" rIns="60960" rtlCol="0" anchor="b">
            <a:spAutoFit/>
          </a:bodyPr>
          <a:lstStyle/>
          <a:p>
            <a:pPr defTabSz="1219170"/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5 </a:t>
            </a:r>
            <a:r>
              <a:rPr lang="de-DE" sz="1867" err="1">
                <a:solidFill>
                  <a:srgbClr val="002855">
                    <a:lumMod val="75000"/>
                  </a:srgbClr>
                </a:solidFill>
                <a:latin typeface="Arial"/>
              </a:rPr>
              <a:t>lesiones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en 25 cm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2</a:t>
            </a:r>
          </a:p>
          <a:p>
            <a:pPr defTabSz="1219170"/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16%:   1-0.84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5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 = 42% </a:t>
            </a:r>
            <a:r>
              <a:rPr lang="de-DE" sz="1867" err="1">
                <a:solidFill>
                  <a:srgbClr val="002855">
                    <a:lumMod val="75000"/>
                  </a:srgbClr>
                </a:solidFill>
                <a:latin typeface="Arial"/>
              </a:rPr>
              <a:t>riesgo</a:t>
            </a:r>
            <a:endParaRPr lang="de-DE" sz="1867">
              <a:solidFill>
                <a:srgbClr val="002855">
                  <a:lumMod val="75000"/>
                </a:srgbClr>
              </a:solidFill>
              <a:latin typeface="Arial"/>
            </a:endParaRPr>
          </a:p>
          <a:p>
            <a:pPr defTabSz="1219170"/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0.025%: 1-0.025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5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= </a:t>
            </a:r>
            <a:r>
              <a:rPr lang="de-DE" sz="1867" b="1">
                <a:solidFill>
                  <a:srgbClr val="002855">
                    <a:lumMod val="75000"/>
                  </a:srgbClr>
                </a:solidFill>
                <a:latin typeface="Arial"/>
              </a:rPr>
              <a:t>22% </a:t>
            </a:r>
            <a:r>
              <a:rPr lang="de-DE" sz="1867" b="1" err="1">
                <a:solidFill>
                  <a:srgbClr val="002855">
                    <a:lumMod val="75000"/>
                  </a:srgbClr>
                </a:solidFill>
                <a:latin typeface="Arial"/>
              </a:rPr>
              <a:t>riesgo</a:t>
            </a:r>
            <a:endParaRPr lang="de-DE" sz="1867" b="1">
              <a:solidFill>
                <a:srgbClr val="002855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Textfeld 36">
            <a:extLst>
              <a:ext uri="{FF2B5EF4-FFF2-40B4-BE49-F238E27FC236}">
                <a16:creationId xmlns:a16="http://schemas.microsoft.com/office/drawing/2014/main" id="{E49D4B85-E6D5-F7AC-9D98-228F8AFC5D7A}"/>
              </a:ext>
            </a:extLst>
          </p:cNvPr>
          <p:cNvSpPr txBox="1"/>
          <p:nvPr/>
        </p:nvSpPr>
        <p:spPr>
          <a:xfrm>
            <a:off x="8137003" y="4983917"/>
            <a:ext cx="3664607" cy="1000446"/>
          </a:xfrm>
          <a:prstGeom prst="round2SameRect">
            <a:avLst>
              <a:gd name="adj1" fmla="val 0"/>
              <a:gd name="adj2" fmla="val 17835"/>
            </a:avLst>
          </a:prstGeom>
          <a:solidFill>
            <a:schemeClr val="bg1">
              <a:lumMod val="95000"/>
            </a:schemeClr>
          </a:solidFill>
        </p:spPr>
        <p:txBody>
          <a:bodyPr wrap="square" lIns="60960" rIns="60960" rtlCol="0" anchor="b">
            <a:spAutoFit/>
          </a:bodyPr>
          <a:lstStyle/>
          <a:p>
            <a:pPr defTabSz="1219170"/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20 </a:t>
            </a:r>
            <a:r>
              <a:rPr lang="de-DE" sz="1867" err="1">
                <a:solidFill>
                  <a:srgbClr val="002855">
                    <a:lumMod val="75000"/>
                  </a:srgbClr>
                </a:solidFill>
                <a:latin typeface="Arial"/>
              </a:rPr>
              <a:t>lesiones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en 100 cm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2</a:t>
            </a:r>
          </a:p>
          <a:p>
            <a:pPr defTabSz="1219170"/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16%:   1-0.84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20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 = 97% </a:t>
            </a:r>
            <a:r>
              <a:rPr lang="de-DE" sz="1867" err="1">
                <a:solidFill>
                  <a:srgbClr val="002855">
                    <a:lumMod val="75000"/>
                  </a:srgbClr>
                </a:solidFill>
                <a:latin typeface="Arial"/>
              </a:rPr>
              <a:t>riesgo</a:t>
            </a:r>
            <a:endParaRPr lang="de-DE" sz="1867">
              <a:solidFill>
                <a:srgbClr val="002855">
                  <a:lumMod val="75000"/>
                </a:srgbClr>
              </a:solidFill>
              <a:latin typeface="Arial"/>
            </a:endParaRPr>
          </a:p>
          <a:p>
            <a:pPr defTabSz="1219170"/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0.025%: 1-0.025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20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= </a:t>
            </a:r>
            <a:r>
              <a:rPr lang="de-DE" sz="1867" b="1">
                <a:solidFill>
                  <a:srgbClr val="002855">
                    <a:lumMod val="75000"/>
                  </a:srgbClr>
                </a:solidFill>
                <a:latin typeface="Arial"/>
              </a:rPr>
              <a:t>40% </a:t>
            </a:r>
            <a:r>
              <a:rPr lang="de-DE" sz="1867" b="1" err="1">
                <a:solidFill>
                  <a:srgbClr val="002855">
                    <a:lumMod val="75000"/>
                  </a:srgbClr>
                </a:solidFill>
                <a:latin typeface="Arial"/>
              </a:rPr>
              <a:t>riesgo</a:t>
            </a:r>
            <a:endParaRPr lang="de-DE" sz="1867" b="1">
              <a:solidFill>
                <a:srgbClr val="002855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1" name="Rechteck 4">
            <a:extLst>
              <a:ext uri="{FF2B5EF4-FFF2-40B4-BE49-F238E27FC236}">
                <a16:creationId xmlns:a16="http://schemas.microsoft.com/office/drawing/2014/main" id="{FF5C3191-8A42-4F78-D8CF-194855E47F52}"/>
              </a:ext>
            </a:extLst>
          </p:cNvPr>
          <p:cNvSpPr>
            <a:spLocks noChangeAspect="1"/>
          </p:cNvSpPr>
          <p:nvPr/>
        </p:nvSpPr>
        <p:spPr>
          <a:xfrm>
            <a:off x="1550846" y="2552350"/>
            <a:ext cx="1637553" cy="1637553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Stern mit 5 Zacken 8">
            <a:extLst>
              <a:ext uri="{FF2B5EF4-FFF2-40B4-BE49-F238E27FC236}">
                <a16:creationId xmlns:a16="http://schemas.microsoft.com/office/drawing/2014/main" id="{4CA10DEB-98F1-6844-56BD-3E4D864FF86D}"/>
              </a:ext>
            </a:extLst>
          </p:cNvPr>
          <p:cNvSpPr/>
          <p:nvPr/>
        </p:nvSpPr>
        <p:spPr>
          <a:xfrm>
            <a:off x="1742092" y="3233667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echteck 5">
            <a:extLst>
              <a:ext uri="{FF2B5EF4-FFF2-40B4-BE49-F238E27FC236}">
                <a16:creationId xmlns:a16="http://schemas.microsoft.com/office/drawing/2014/main" id="{F3BE06CE-21A5-5F6A-B9EF-66A270A3E1E0}"/>
              </a:ext>
            </a:extLst>
          </p:cNvPr>
          <p:cNvSpPr>
            <a:spLocks noChangeAspect="1"/>
          </p:cNvSpPr>
          <p:nvPr/>
        </p:nvSpPr>
        <p:spPr>
          <a:xfrm>
            <a:off x="5265650" y="2552350"/>
            <a:ext cx="1637553" cy="1637553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Stern mit 5 Zacken 10">
            <a:extLst>
              <a:ext uri="{FF2B5EF4-FFF2-40B4-BE49-F238E27FC236}">
                <a16:creationId xmlns:a16="http://schemas.microsoft.com/office/drawing/2014/main" id="{631123D8-AC55-8E75-7F94-A355CB97A399}"/>
              </a:ext>
            </a:extLst>
          </p:cNvPr>
          <p:cNvSpPr/>
          <p:nvPr/>
        </p:nvSpPr>
        <p:spPr>
          <a:xfrm>
            <a:off x="5361272" y="2659927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Stern mit 5 Zacken 11">
            <a:extLst>
              <a:ext uri="{FF2B5EF4-FFF2-40B4-BE49-F238E27FC236}">
                <a16:creationId xmlns:a16="http://schemas.microsoft.com/office/drawing/2014/main" id="{E98B82BC-2FF0-B43E-88AF-E0B6568FB0A8}"/>
              </a:ext>
            </a:extLst>
          </p:cNvPr>
          <p:cNvSpPr/>
          <p:nvPr/>
        </p:nvSpPr>
        <p:spPr>
          <a:xfrm>
            <a:off x="5707907" y="2839220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Stern mit 5 Zacken 12">
            <a:extLst>
              <a:ext uri="{FF2B5EF4-FFF2-40B4-BE49-F238E27FC236}">
                <a16:creationId xmlns:a16="http://schemas.microsoft.com/office/drawing/2014/main" id="{5CD26D57-6A1F-D303-22F9-9EE3AA75A20D}"/>
              </a:ext>
            </a:extLst>
          </p:cNvPr>
          <p:cNvSpPr/>
          <p:nvPr/>
        </p:nvSpPr>
        <p:spPr>
          <a:xfrm>
            <a:off x="5450920" y="3514562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Stern mit 5 Zacken 13">
            <a:extLst>
              <a:ext uri="{FF2B5EF4-FFF2-40B4-BE49-F238E27FC236}">
                <a16:creationId xmlns:a16="http://schemas.microsoft.com/office/drawing/2014/main" id="{2F3DDE86-5C81-E3B3-0EFA-3166BBF5CD27}"/>
              </a:ext>
            </a:extLst>
          </p:cNvPr>
          <p:cNvSpPr/>
          <p:nvPr/>
        </p:nvSpPr>
        <p:spPr>
          <a:xfrm>
            <a:off x="6496800" y="2683830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Stern mit 5 Zacken 14">
            <a:extLst>
              <a:ext uri="{FF2B5EF4-FFF2-40B4-BE49-F238E27FC236}">
                <a16:creationId xmlns:a16="http://schemas.microsoft.com/office/drawing/2014/main" id="{CA526D6E-8C77-8E5A-8BC4-02E666EAB305}"/>
              </a:ext>
            </a:extLst>
          </p:cNvPr>
          <p:cNvSpPr/>
          <p:nvPr/>
        </p:nvSpPr>
        <p:spPr>
          <a:xfrm>
            <a:off x="6269696" y="3711783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hteck 6">
            <a:extLst>
              <a:ext uri="{FF2B5EF4-FFF2-40B4-BE49-F238E27FC236}">
                <a16:creationId xmlns:a16="http://schemas.microsoft.com/office/drawing/2014/main" id="{8ADA7763-E589-E5E5-8049-177CE82629EF}"/>
              </a:ext>
            </a:extLst>
          </p:cNvPr>
          <p:cNvSpPr>
            <a:spLocks noChangeAspect="1"/>
          </p:cNvSpPr>
          <p:nvPr/>
        </p:nvSpPr>
        <p:spPr>
          <a:xfrm>
            <a:off x="8623159" y="1983276"/>
            <a:ext cx="2775701" cy="2775699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Stern mit 5 Zacken 15">
            <a:extLst>
              <a:ext uri="{FF2B5EF4-FFF2-40B4-BE49-F238E27FC236}">
                <a16:creationId xmlns:a16="http://schemas.microsoft.com/office/drawing/2014/main" id="{A756CD2E-2D21-FABF-8A3D-FE262B8966B8}"/>
              </a:ext>
            </a:extLst>
          </p:cNvPr>
          <p:cNvSpPr/>
          <p:nvPr/>
        </p:nvSpPr>
        <p:spPr>
          <a:xfrm>
            <a:off x="9067268" y="2341590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Stern mit 5 Zacken 16">
            <a:extLst>
              <a:ext uri="{FF2B5EF4-FFF2-40B4-BE49-F238E27FC236}">
                <a16:creationId xmlns:a16="http://schemas.microsoft.com/office/drawing/2014/main" id="{CF6050CE-7F59-F683-22A4-74420D6BF5D8}"/>
              </a:ext>
            </a:extLst>
          </p:cNvPr>
          <p:cNvSpPr/>
          <p:nvPr/>
        </p:nvSpPr>
        <p:spPr>
          <a:xfrm>
            <a:off x="10813439" y="2180093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Stern mit 5 Zacken 17">
            <a:extLst>
              <a:ext uri="{FF2B5EF4-FFF2-40B4-BE49-F238E27FC236}">
                <a16:creationId xmlns:a16="http://schemas.microsoft.com/office/drawing/2014/main" id="{F829480C-BA74-D9B7-445B-930B03774A01}"/>
              </a:ext>
            </a:extLst>
          </p:cNvPr>
          <p:cNvSpPr/>
          <p:nvPr/>
        </p:nvSpPr>
        <p:spPr>
          <a:xfrm>
            <a:off x="10813435" y="4193724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Stern mit 5 Zacken 18">
            <a:extLst>
              <a:ext uri="{FF2B5EF4-FFF2-40B4-BE49-F238E27FC236}">
                <a16:creationId xmlns:a16="http://schemas.microsoft.com/office/drawing/2014/main" id="{F9690D7E-A285-3865-86F3-CDFC9486686F}"/>
              </a:ext>
            </a:extLst>
          </p:cNvPr>
          <p:cNvSpPr/>
          <p:nvPr/>
        </p:nvSpPr>
        <p:spPr>
          <a:xfrm>
            <a:off x="8961287" y="2760461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Stern mit 5 Zacken 19">
            <a:extLst>
              <a:ext uri="{FF2B5EF4-FFF2-40B4-BE49-F238E27FC236}">
                <a16:creationId xmlns:a16="http://schemas.microsoft.com/office/drawing/2014/main" id="{91ED56FF-4848-EA8E-96F4-373C107B25D4}"/>
              </a:ext>
            </a:extLst>
          </p:cNvPr>
          <p:cNvSpPr/>
          <p:nvPr/>
        </p:nvSpPr>
        <p:spPr>
          <a:xfrm>
            <a:off x="9067268" y="3179333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Stern mit 5 Zacken 20">
            <a:extLst>
              <a:ext uri="{FF2B5EF4-FFF2-40B4-BE49-F238E27FC236}">
                <a16:creationId xmlns:a16="http://schemas.microsoft.com/office/drawing/2014/main" id="{11BEE88A-A8F7-CB3B-D6A2-D04B43E70174}"/>
              </a:ext>
            </a:extLst>
          </p:cNvPr>
          <p:cNvSpPr/>
          <p:nvPr/>
        </p:nvSpPr>
        <p:spPr>
          <a:xfrm>
            <a:off x="9339794" y="2200282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Stern mit 5 Zacken 21">
            <a:extLst>
              <a:ext uri="{FF2B5EF4-FFF2-40B4-BE49-F238E27FC236}">
                <a16:creationId xmlns:a16="http://schemas.microsoft.com/office/drawing/2014/main" id="{68F57038-406E-CE2A-5779-82672D81A330}"/>
              </a:ext>
            </a:extLst>
          </p:cNvPr>
          <p:cNvSpPr/>
          <p:nvPr/>
        </p:nvSpPr>
        <p:spPr>
          <a:xfrm>
            <a:off x="10217924" y="2578786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Stern mit 5 Zacken 22">
            <a:extLst>
              <a:ext uri="{FF2B5EF4-FFF2-40B4-BE49-F238E27FC236}">
                <a16:creationId xmlns:a16="http://schemas.microsoft.com/office/drawing/2014/main" id="{E768224A-5ABA-7F27-D00E-EB96695B8761}"/>
              </a:ext>
            </a:extLst>
          </p:cNvPr>
          <p:cNvSpPr/>
          <p:nvPr/>
        </p:nvSpPr>
        <p:spPr>
          <a:xfrm>
            <a:off x="10974923" y="3696614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Stern mit 5 Zacken 23">
            <a:extLst>
              <a:ext uri="{FF2B5EF4-FFF2-40B4-BE49-F238E27FC236}">
                <a16:creationId xmlns:a16="http://schemas.microsoft.com/office/drawing/2014/main" id="{CCEF8AE8-A6F9-716C-7874-D238E58E39F9}"/>
              </a:ext>
            </a:extLst>
          </p:cNvPr>
          <p:cNvSpPr/>
          <p:nvPr/>
        </p:nvSpPr>
        <p:spPr>
          <a:xfrm>
            <a:off x="8736706" y="2079161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Stern mit 5 Zacken 24">
            <a:extLst>
              <a:ext uri="{FF2B5EF4-FFF2-40B4-BE49-F238E27FC236}">
                <a16:creationId xmlns:a16="http://schemas.microsoft.com/office/drawing/2014/main" id="{EE60CD4D-4A5E-5720-52B5-CA38B7809B93}"/>
              </a:ext>
            </a:extLst>
          </p:cNvPr>
          <p:cNvSpPr/>
          <p:nvPr/>
        </p:nvSpPr>
        <p:spPr>
          <a:xfrm>
            <a:off x="9758668" y="2619121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Stern mit 5 Zacken 25">
            <a:extLst>
              <a:ext uri="{FF2B5EF4-FFF2-40B4-BE49-F238E27FC236}">
                <a16:creationId xmlns:a16="http://schemas.microsoft.com/office/drawing/2014/main" id="{D096CB73-71F0-F87D-480A-048B6B924825}"/>
              </a:ext>
            </a:extLst>
          </p:cNvPr>
          <p:cNvSpPr/>
          <p:nvPr/>
        </p:nvSpPr>
        <p:spPr>
          <a:xfrm>
            <a:off x="10762960" y="3908577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Stern mit 5 Zacken 26">
            <a:extLst>
              <a:ext uri="{FF2B5EF4-FFF2-40B4-BE49-F238E27FC236}">
                <a16:creationId xmlns:a16="http://schemas.microsoft.com/office/drawing/2014/main" id="{A2922F78-40EC-4E71-F5C1-DA8B5598BF62}"/>
              </a:ext>
            </a:extLst>
          </p:cNvPr>
          <p:cNvSpPr/>
          <p:nvPr/>
        </p:nvSpPr>
        <p:spPr>
          <a:xfrm>
            <a:off x="10445020" y="2235609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Stern mit 5 Zacken 27">
            <a:extLst>
              <a:ext uri="{FF2B5EF4-FFF2-40B4-BE49-F238E27FC236}">
                <a16:creationId xmlns:a16="http://schemas.microsoft.com/office/drawing/2014/main" id="{528C4AE6-0B7A-59E4-E311-8C48C29D5793}"/>
              </a:ext>
            </a:extLst>
          </p:cNvPr>
          <p:cNvSpPr/>
          <p:nvPr/>
        </p:nvSpPr>
        <p:spPr>
          <a:xfrm>
            <a:off x="10813435" y="2543448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Stern mit 5 Zacken 28">
            <a:extLst>
              <a:ext uri="{FF2B5EF4-FFF2-40B4-BE49-F238E27FC236}">
                <a16:creationId xmlns:a16="http://schemas.microsoft.com/office/drawing/2014/main" id="{B34284CD-C233-D5A5-8AD5-1027A8BE6013}"/>
              </a:ext>
            </a:extLst>
          </p:cNvPr>
          <p:cNvSpPr/>
          <p:nvPr/>
        </p:nvSpPr>
        <p:spPr>
          <a:xfrm>
            <a:off x="9483623" y="2841196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" name="Stern mit 5 Zacken 29">
            <a:extLst>
              <a:ext uri="{FF2B5EF4-FFF2-40B4-BE49-F238E27FC236}">
                <a16:creationId xmlns:a16="http://schemas.microsoft.com/office/drawing/2014/main" id="{090BDAF6-0401-A056-A7CD-8529B1591108}"/>
              </a:ext>
            </a:extLst>
          </p:cNvPr>
          <p:cNvSpPr/>
          <p:nvPr/>
        </p:nvSpPr>
        <p:spPr>
          <a:xfrm>
            <a:off x="9445770" y="3948966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Stern mit 5 Zacken 30">
            <a:extLst>
              <a:ext uri="{FF2B5EF4-FFF2-40B4-BE49-F238E27FC236}">
                <a16:creationId xmlns:a16="http://schemas.microsoft.com/office/drawing/2014/main" id="{5D6E36A9-90C7-1FCE-A574-7C41E60554FD}"/>
              </a:ext>
            </a:extLst>
          </p:cNvPr>
          <p:cNvSpPr/>
          <p:nvPr/>
        </p:nvSpPr>
        <p:spPr>
          <a:xfrm>
            <a:off x="10016054" y="3696616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" name="Stern mit 5 Zacken 31">
            <a:extLst>
              <a:ext uri="{FF2B5EF4-FFF2-40B4-BE49-F238E27FC236}">
                <a16:creationId xmlns:a16="http://schemas.microsoft.com/office/drawing/2014/main" id="{0127155A-1D38-56B4-D7DC-C5C465F764EB}"/>
              </a:ext>
            </a:extLst>
          </p:cNvPr>
          <p:cNvSpPr/>
          <p:nvPr/>
        </p:nvSpPr>
        <p:spPr>
          <a:xfrm>
            <a:off x="10510630" y="2932049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" name="Stern mit 5 Zacken 32">
            <a:extLst>
              <a:ext uri="{FF2B5EF4-FFF2-40B4-BE49-F238E27FC236}">
                <a16:creationId xmlns:a16="http://schemas.microsoft.com/office/drawing/2014/main" id="{5BF1080C-3502-6F02-C9B1-062C04659AAF}"/>
              </a:ext>
            </a:extLst>
          </p:cNvPr>
          <p:cNvSpPr/>
          <p:nvPr/>
        </p:nvSpPr>
        <p:spPr>
          <a:xfrm>
            <a:off x="10056428" y="4229060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Stern mit 5 Zacken 33">
            <a:extLst>
              <a:ext uri="{FF2B5EF4-FFF2-40B4-BE49-F238E27FC236}">
                <a16:creationId xmlns:a16="http://schemas.microsoft.com/office/drawing/2014/main" id="{583B9D4F-4105-9755-0BBC-C6ECAFBA1924}"/>
              </a:ext>
            </a:extLst>
          </p:cNvPr>
          <p:cNvSpPr/>
          <p:nvPr/>
        </p:nvSpPr>
        <p:spPr>
          <a:xfrm>
            <a:off x="9233812" y="4405686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Stern mit 5 Zacken 34">
            <a:extLst>
              <a:ext uri="{FF2B5EF4-FFF2-40B4-BE49-F238E27FC236}">
                <a16:creationId xmlns:a16="http://schemas.microsoft.com/office/drawing/2014/main" id="{401F2EE1-F60E-7779-16D9-D83E6D533B84}"/>
              </a:ext>
            </a:extLst>
          </p:cNvPr>
          <p:cNvSpPr/>
          <p:nvPr/>
        </p:nvSpPr>
        <p:spPr>
          <a:xfrm>
            <a:off x="9026894" y="4019626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401AF7AB-1DCC-2D78-B9B5-64291C09C4C1}"/>
              </a:ext>
            </a:extLst>
          </p:cNvPr>
          <p:cNvSpPr txBox="1">
            <a:spLocks/>
          </p:cNvSpPr>
          <p:nvPr/>
        </p:nvSpPr>
        <p:spPr>
          <a:xfrm>
            <a:off x="1889720" y="6307475"/>
            <a:ext cx="5187736" cy="353245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lnSpc>
                <a:spcPct val="150000"/>
              </a:lnSpc>
              <a:spcBef>
                <a:spcPts val="0"/>
              </a:spcBef>
            </a:pPr>
            <a:r>
              <a:rPr lang="de-DE" sz="800">
                <a:solidFill>
                  <a:schemeClr val="bg1">
                    <a:lumMod val="50000"/>
                  </a:schemeClr>
                </a:solidFill>
                <a:latin typeface="Arial"/>
              </a:rPr>
              <a:t>CCE: </a:t>
            </a:r>
            <a:r>
              <a:rPr lang="de-DE" sz="800" err="1">
                <a:solidFill>
                  <a:schemeClr val="bg1">
                    <a:lumMod val="50000"/>
                  </a:schemeClr>
                </a:solidFill>
                <a:latin typeface="Arial"/>
              </a:rPr>
              <a:t>carcinoma</a:t>
            </a:r>
            <a:r>
              <a:rPr lang="de-DE" sz="800">
                <a:solidFill>
                  <a:schemeClr val="bg1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800" err="1">
                <a:solidFill>
                  <a:schemeClr val="bg1">
                    <a:lumMod val="50000"/>
                  </a:schemeClr>
                </a:solidFill>
                <a:latin typeface="Arial"/>
              </a:rPr>
              <a:t>celular</a:t>
            </a:r>
            <a:r>
              <a:rPr lang="de-DE" sz="800">
                <a:solidFill>
                  <a:schemeClr val="bg1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800" err="1">
                <a:solidFill>
                  <a:schemeClr val="bg1">
                    <a:lumMod val="50000"/>
                  </a:schemeClr>
                </a:solidFill>
                <a:latin typeface="Arial"/>
              </a:rPr>
              <a:t>escamoso</a:t>
            </a:r>
            <a:r>
              <a:rPr lang="de-DE" sz="800">
                <a:solidFill>
                  <a:schemeClr val="bg1">
                    <a:lumMod val="50000"/>
                  </a:schemeClr>
                </a:solidFill>
                <a:latin typeface="Arial"/>
              </a:rPr>
              <a:t>.</a:t>
            </a:r>
          </a:p>
          <a:p>
            <a:pPr defTabSz="914377">
              <a:lnSpc>
                <a:spcPct val="150000"/>
              </a:lnSpc>
              <a:spcBef>
                <a:spcPts val="0"/>
              </a:spcBef>
            </a:pPr>
            <a:r>
              <a:rPr lang="en-US" sz="800" err="1">
                <a:solidFill>
                  <a:schemeClr val="bg1">
                    <a:lumMod val="50000"/>
                  </a:schemeClr>
                </a:solidFill>
                <a:latin typeface="Arial"/>
              </a:rPr>
              <a:t>Glogau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Arial"/>
              </a:rPr>
              <a:t> RG. The risk of progression to invasive disease. J Am </a:t>
            </a:r>
            <a:r>
              <a:rPr lang="en-US" sz="800" err="1">
                <a:solidFill>
                  <a:schemeClr val="bg1">
                    <a:lumMod val="50000"/>
                  </a:schemeClr>
                </a:solidFill>
                <a:latin typeface="Arial"/>
              </a:rPr>
              <a:t>Acad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Arial"/>
              </a:rPr>
              <a:t> Dermatol. 2000 Jan;42(1 Pt 2):23-4. </a:t>
            </a:r>
            <a:endParaRPr lang="de-DE" sz="800">
              <a:solidFill>
                <a:schemeClr val="bg1">
                  <a:lumMod val="50000"/>
                </a:schemeClr>
              </a:solidFill>
              <a:latin typeface="Arial"/>
            </a:endParaRPr>
          </a:p>
          <a:p>
            <a:pPr defTabSz="914377">
              <a:lnSpc>
                <a:spcPct val="150000"/>
              </a:lnSpc>
              <a:spcBef>
                <a:spcPts val="0"/>
              </a:spcBef>
            </a:pPr>
            <a:endParaRPr lang="en-US" sz="80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005950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3EA82A77-868E-9089-F07D-CDAAD76E84A8}"/>
              </a:ext>
            </a:extLst>
          </p:cNvPr>
          <p:cNvSpPr txBox="1"/>
          <p:nvPr/>
        </p:nvSpPr>
        <p:spPr>
          <a:xfrm>
            <a:off x="464015" y="246647"/>
            <a:ext cx="8810613" cy="938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lnSpc>
                <a:spcPct val="110000"/>
              </a:lnSpc>
              <a:spcAft>
                <a:spcPts val="1800"/>
              </a:spcAft>
              <a:buSzPct val="90000"/>
              <a:defRPr/>
            </a:pPr>
            <a:r>
              <a:rPr lang="es-ES" sz="2600" b="1">
                <a:solidFill>
                  <a:srgbClr val="E93C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Es relevante la opinión/contexto social del paciente para la elección del tratamiento?</a:t>
            </a:r>
          </a:p>
        </p:txBody>
      </p:sp>
      <p:sp>
        <p:nvSpPr>
          <p:cNvPr id="7" name="TextBox 32">
            <a:extLst>
              <a:ext uri="{FF2B5EF4-FFF2-40B4-BE49-F238E27FC236}">
                <a16:creationId xmlns:a16="http://schemas.microsoft.com/office/drawing/2014/main" id="{3EB835D7-6D79-9C5A-F103-4C7E99C70442}"/>
              </a:ext>
            </a:extLst>
          </p:cNvPr>
          <p:cNvSpPr txBox="1"/>
          <p:nvPr/>
        </p:nvSpPr>
        <p:spPr>
          <a:xfrm>
            <a:off x="1668205" y="6263065"/>
            <a:ext cx="85711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iter U, et al. S3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uideline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"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tinic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eratosis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utaneous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quamous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ell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carcinoma" -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2023,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rt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2: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pidemiology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tiology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agnostics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urgical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ystemic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reatment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utaneous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quamous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ell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carcinoma (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SCC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urveillance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vention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J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tsch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rmatol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Ges. 2023 Nov;21(11):1422-1433. </a:t>
            </a:r>
            <a:r>
              <a:rPr kumimoji="0" lang="es-ES" sz="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800" b="1" i="0" u="none" strike="noStrike" kern="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insen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B et al. Focused update: Guidelines of care for the management of actinic keratosis. J Am </a:t>
            </a: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ad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rmatol. 2022 Aug;87(2):373-374.e5.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800" b="1" i="0" u="none" strike="noStrike" kern="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drews J, et al. GRADE guidelines: 14. Going from evidence to recommendations: the significance and presentation of recommendations. J Clin Epidemiol. 2013;66(7):719-725.</a:t>
            </a:r>
            <a:endParaRPr kumimoji="0" lang="es-ES" sz="800" b="0" i="0" u="none" strike="noStrike" kern="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4DFD469-6917-67C9-5B40-203A0A61E870}"/>
              </a:ext>
            </a:extLst>
          </p:cNvPr>
          <p:cNvSpPr txBox="1"/>
          <p:nvPr/>
        </p:nvSpPr>
        <p:spPr>
          <a:xfrm>
            <a:off x="1195133" y="1631585"/>
            <a:ext cx="9186421" cy="359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lnSpc>
                <a:spcPct val="110000"/>
              </a:lnSpc>
              <a:spcAft>
                <a:spcPts val="1800"/>
              </a:spcAft>
              <a:buSzPct val="90000"/>
              <a:defRPr/>
            </a:pPr>
            <a:r>
              <a:rPr lang="es-ES" sz="2000" b="1" u="sng">
                <a:solidFill>
                  <a:srgbClr val="002060"/>
                </a:solidFill>
                <a:latin typeface="Calibri" panose="020F0502020204030204"/>
              </a:rPr>
              <a:t>Según las Guías alemanas</a:t>
            </a:r>
            <a:r>
              <a:rPr lang="es-ES" sz="2000" b="1" u="sng" baseline="30000">
                <a:solidFill>
                  <a:srgbClr val="002060"/>
                </a:solidFill>
                <a:latin typeface="Calibri" panose="020F0502020204030204"/>
              </a:rPr>
              <a:t>1</a:t>
            </a:r>
            <a:r>
              <a:rPr lang="es-ES" sz="2000" b="1" u="sng">
                <a:solidFill>
                  <a:srgbClr val="002060"/>
                </a:solidFill>
                <a:latin typeface="Calibri" panose="020F0502020204030204"/>
              </a:rPr>
              <a:t>: </a:t>
            </a:r>
          </a:p>
          <a:p>
            <a:pPr algn="just" defTabSz="914377">
              <a:lnSpc>
                <a:spcPct val="110000"/>
              </a:lnSpc>
              <a:spcAft>
                <a:spcPts val="1800"/>
              </a:spcAft>
              <a:buSzPct val="90000"/>
              <a:defRPr/>
            </a:pPr>
            <a:r>
              <a:rPr lang="es-ES" sz="1600" i="1">
                <a:solidFill>
                  <a:srgbClr val="002060"/>
                </a:solidFill>
                <a:highlight>
                  <a:srgbClr val="FFFF00"/>
                </a:highlight>
                <a:latin typeface="Calibri" panose="020F0502020204030204"/>
              </a:rPr>
              <a:t>La indicación para el tratamiento de la queratosis actínica debe tener en cuenta </a:t>
            </a:r>
            <a:r>
              <a:rPr lang="es-ES" sz="1600" i="1">
                <a:solidFill>
                  <a:srgbClr val="002060"/>
                </a:solidFill>
                <a:latin typeface="Calibri" panose="020F0502020204030204"/>
              </a:rPr>
              <a:t>la presentación clínica, los factores de riesgo (p. ej., inmunosupresión, exposición acumulativa a los rayos UV, número de lesiones), comorbilidades, esperanza de vida y </a:t>
            </a:r>
            <a:r>
              <a:rPr lang="es-ES" sz="1600" i="1">
                <a:solidFill>
                  <a:srgbClr val="002060"/>
                </a:solidFill>
                <a:highlight>
                  <a:srgbClr val="FFFF00"/>
                </a:highlight>
                <a:latin typeface="Calibri" panose="020F0502020204030204"/>
              </a:rPr>
              <a:t>deseos del paciente.</a:t>
            </a:r>
            <a:r>
              <a:rPr lang="es-ES" sz="1600" i="1" baseline="30000">
                <a:solidFill>
                  <a:srgbClr val="002060"/>
                </a:solidFill>
                <a:highlight>
                  <a:srgbClr val="FFFF00"/>
                </a:highlight>
                <a:latin typeface="Calibri" panose="020F0502020204030204"/>
              </a:rPr>
              <a:t>1</a:t>
            </a:r>
          </a:p>
          <a:p>
            <a:pPr defTabSz="914377">
              <a:lnSpc>
                <a:spcPct val="110000"/>
              </a:lnSpc>
              <a:spcAft>
                <a:spcPts val="1800"/>
              </a:spcAft>
              <a:buSzPct val="90000"/>
              <a:defRPr/>
            </a:pPr>
            <a:r>
              <a:rPr lang="es-ES" sz="2000" b="1" u="sng">
                <a:solidFill>
                  <a:srgbClr val="002060"/>
                </a:solidFill>
                <a:latin typeface="Calibri" panose="020F0502020204030204"/>
              </a:rPr>
              <a:t>Según las Guías americanas</a:t>
            </a:r>
            <a:r>
              <a:rPr lang="es-ES" sz="2000" b="1" u="sng" baseline="30000">
                <a:solidFill>
                  <a:srgbClr val="002060"/>
                </a:solidFill>
                <a:latin typeface="Calibri" panose="020F0502020204030204"/>
              </a:rPr>
              <a:t>2</a:t>
            </a:r>
            <a:r>
              <a:rPr lang="es-ES" sz="2000" b="1" u="sng">
                <a:solidFill>
                  <a:srgbClr val="002060"/>
                </a:solidFill>
                <a:latin typeface="Calibri" panose="020F0502020204030204"/>
              </a:rPr>
              <a:t>:</a:t>
            </a:r>
          </a:p>
          <a:p>
            <a:pPr algn="just" defTabSz="914377">
              <a:lnSpc>
                <a:spcPct val="110000"/>
              </a:lnSpc>
              <a:spcAft>
                <a:spcPts val="1800"/>
              </a:spcAft>
              <a:buSzPct val="90000"/>
              <a:defRPr/>
            </a:pPr>
            <a:r>
              <a:rPr lang="es-ES" sz="1600" i="1">
                <a:solidFill>
                  <a:srgbClr val="002060"/>
                </a:solidFill>
                <a:latin typeface="Calibri" panose="020F0502020204030204"/>
              </a:rPr>
              <a:t>El Grupo de Trabajo </a:t>
            </a:r>
            <a:r>
              <a:rPr lang="es-ES" sz="1600" i="1">
                <a:solidFill>
                  <a:srgbClr val="002060"/>
                </a:solidFill>
                <a:highlight>
                  <a:srgbClr val="FFFF00"/>
                </a:highlight>
                <a:latin typeface="Calibri" panose="020F0502020204030204"/>
              </a:rPr>
              <a:t>redactó una recomendación </a:t>
            </a:r>
            <a:r>
              <a:rPr lang="es-ES" sz="1600" i="1">
                <a:solidFill>
                  <a:srgbClr val="002060"/>
                </a:solidFill>
                <a:latin typeface="Calibri" panose="020F0502020204030204"/>
              </a:rPr>
              <a:t>utilizando el perfil de evidencia </a:t>
            </a:r>
            <a:r>
              <a:rPr lang="es-ES" sz="1600" i="1">
                <a:solidFill>
                  <a:srgbClr val="002060"/>
                </a:solidFill>
                <a:highlight>
                  <a:srgbClr val="FFFF00"/>
                </a:highlight>
                <a:latin typeface="Calibri" panose="020F0502020204030204"/>
              </a:rPr>
              <a:t>y considerando </a:t>
            </a:r>
            <a:r>
              <a:rPr lang="es-ES" sz="1600" i="1">
                <a:solidFill>
                  <a:srgbClr val="002060"/>
                </a:solidFill>
                <a:latin typeface="Calibri" panose="020F0502020204030204"/>
              </a:rPr>
              <a:t>lo siguiente: el equilibrio de las consecuencias deseables e indeseables de una intervención, la certeza general de la evidencia,</a:t>
            </a:r>
            <a:r>
              <a:rPr lang="es-ES" sz="1600" i="1">
                <a:solidFill>
                  <a:srgbClr val="002060"/>
                </a:solidFill>
                <a:highlight>
                  <a:srgbClr val="FFFF00"/>
                </a:highlight>
                <a:latin typeface="Calibri" panose="020F0502020204030204"/>
              </a:rPr>
              <a:t> los valores y preferencias del paciente, </a:t>
            </a:r>
            <a:r>
              <a:rPr lang="es-ES" sz="1600" i="1">
                <a:solidFill>
                  <a:srgbClr val="002060"/>
                </a:solidFill>
                <a:latin typeface="Calibri" panose="020F0502020204030204"/>
              </a:rPr>
              <a:t>el uso de recursos, la aceptabilidad y la viabilidad.</a:t>
            </a:r>
            <a:r>
              <a:rPr lang="es-ES" sz="1600" i="1" baseline="30000">
                <a:solidFill>
                  <a:srgbClr val="002060"/>
                </a:solidFill>
                <a:latin typeface="Calibri" panose="020F0502020204030204"/>
              </a:rPr>
              <a:t>2,3</a:t>
            </a:r>
            <a:endParaRPr lang="es-ES" sz="2000" b="1" u="sng">
              <a:solidFill>
                <a:srgbClr val="002060"/>
              </a:solidFill>
              <a:latin typeface="Calibri" panose="020F0502020204030204"/>
            </a:endParaRPr>
          </a:p>
          <a:p>
            <a:endParaRPr lang="es-ES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7933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uadroTexto 52">
            <a:extLst>
              <a:ext uri="{FF2B5EF4-FFF2-40B4-BE49-F238E27FC236}">
                <a16:creationId xmlns:a16="http://schemas.microsoft.com/office/drawing/2014/main" id="{1D90E071-005C-173F-1F02-01F09FC40CEE}"/>
              </a:ext>
            </a:extLst>
          </p:cNvPr>
          <p:cNvSpPr txBox="1"/>
          <p:nvPr/>
        </p:nvSpPr>
        <p:spPr>
          <a:xfrm>
            <a:off x="1737887" y="6247390"/>
            <a:ext cx="831035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700">
                <a:solidFill>
                  <a:prstClr val="black">
                    <a:lumMod val="65000"/>
                    <a:lumOff val="35000"/>
                  </a:prst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609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SQM-9, </a:t>
            </a:r>
            <a:r>
              <a:rPr kumimoji="0" lang="fr-FR" sz="800" b="0" i="0" u="none" strike="noStrike" kern="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reatment</a:t>
            </a: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atisfaction Questionnaire for </a:t>
            </a:r>
            <a:r>
              <a:rPr kumimoji="0" lang="fr-FR" sz="800" b="0" i="0" u="none" strike="noStrike" kern="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dication</a:t>
            </a: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PQ, </a:t>
            </a: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pert Panel Questionnaire</a:t>
            </a:r>
          </a:p>
          <a:p>
            <a:pPr marL="0" marR="0" lvl="0" indent="0" algn="just" defTabSz="6095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dapted from: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kumimoji="0" lang="fr-FR" sz="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 </a:t>
            </a: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Schlesinger, T et al. (2023). SKIN The Journal of </a:t>
            </a:r>
            <a:r>
              <a:rPr kumimoji="0" lang="fr-FR" sz="800" b="0" i="0" u="none" strike="noStrike" kern="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Cutaneous</a:t>
            </a: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 </a:t>
            </a:r>
            <a:r>
              <a:rPr kumimoji="0" lang="fr-FR" sz="800" b="0" i="0" u="none" strike="noStrike" kern="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Medicine</a:t>
            </a: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, 7(3), 771-787.</a:t>
            </a:r>
            <a:r>
              <a:rPr kumimoji="0" lang="fr-FR" sz="8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 </a:t>
            </a:r>
            <a:r>
              <a:rPr kumimoji="0" lang="es-ES_tradnl" sz="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2. </a:t>
            </a:r>
            <a:r>
              <a:rPr kumimoji="0" lang="es-ES_tradnl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Schlesinger T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t al.</a:t>
            </a:r>
            <a:r>
              <a:rPr kumimoji="0" lang="es-ES_tradnl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SKIN 2023, 7(6), s262 </a:t>
            </a:r>
            <a:r>
              <a:rPr kumimoji="0" lang="es-ES_tradnl" sz="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3</a:t>
            </a:r>
            <a:r>
              <a:rPr kumimoji="0" lang="es-ES_tradnl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</a:t>
            </a:r>
            <a:r>
              <a:rPr kumimoji="0" lang="es-ES_tradnl" sz="800" b="0" i="0" u="none" strike="noStrike" kern="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ilaberte Y</a:t>
            </a:r>
            <a:r>
              <a:rPr kumimoji="0" lang="es-ES_tradnl" sz="800" b="1" i="0" u="none" strike="noStrike" kern="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t al. 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Marcador de texto 1">
            <a:extLst>
              <a:ext uri="{FF2B5EF4-FFF2-40B4-BE49-F238E27FC236}">
                <a16:creationId xmlns:a16="http://schemas.microsoft.com/office/drawing/2014/main" id="{55879ED0-6D8D-CB71-A4BA-6FBD4777553E}"/>
              </a:ext>
            </a:extLst>
          </p:cNvPr>
          <p:cNvSpPr txBox="1">
            <a:spLocks/>
          </p:cNvSpPr>
          <p:nvPr/>
        </p:nvSpPr>
        <p:spPr>
          <a:xfrm>
            <a:off x="147143" y="104712"/>
            <a:ext cx="8310353" cy="623607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2400" b="1" i="0" u="none" strike="noStrike" kern="1200" cap="none" spc="0" normalizeH="0" baseline="0" noProof="0">
                <a:ln>
                  <a:noFill/>
                </a:ln>
                <a:solidFill>
                  <a:srgbClr val="008C93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TSQM-9 - </a:t>
            </a:r>
            <a:r>
              <a:rPr kumimoji="0" lang="es-ES_tradnl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Satisfacción tras tratamiento con </a:t>
            </a:r>
            <a:r>
              <a:rPr kumimoji="0" lang="es-ES_tradnl" sz="24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tirbanibulina</a:t>
            </a:r>
            <a:endParaRPr kumimoji="0" lang="es-ES_tradnl" sz="24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96" name="Rectángulo 195">
            <a:extLst>
              <a:ext uri="{FF2B5EF4-FFF2-40B4-BE49-F238E27FC236}">
                <a16:creationId xmlns:a16="http://schemas.microsoft.com/office/drawing/2014/main" id="{1EA2DB30-145A-9FFE-548D-5C3C5D5EE853}"/>
              </a:ext>
            </a:extLst>
          </p:cNvPr>
          <p:cNvSpPr/>
          <p:nvPr/>
        </p:nvSpPr>
        <p:spPr>
          <a:xfrm>
            <a:off x="1100416" y="1145707"/>
            <a:ext cx="4307754" cy="4942577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97" name="Picture 3">
            <a:extLst>
              <a:ext uri="{FF2B5EF4-FFF2-40B4-BE49-F238E27FC236}">
                <a16:creationId xmlns:a16="http://schemas.microsoft.com/office/drawing/2014/main" id="{DF74FF9A-DCDD-574E-3A5F-1FA550128C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1569" y="3847432"/>
            <a:ext cx="3580918" cy="2051711"/>
          </a:xfrm>
          <a:prstGeom prst="rect">
            <a:avLst/>
          </a:prstGeom>
          <a:noFill/>
        </p:spPr>
      </p:pic>
      <p:sp>
        <p:nvSpPr>
          <p:cNvPr id="198" name="TextBox 25">
            <a:extLst>
              <a:ext uri="{FF2B5EF4-FFF2-40B4-BE49-F238E27FC236}">
                <a16:creationId xmlns:a16="http://schemas.microsoft.com/office/drawing/2014/main" id="{1DADA116-6EE7-B497-EDBC-6A03508C0384}"/>
              </a:ext>
            </a:extLst>
          </p:cNvPr>
          <p:cNvSpPr txBox="1"/>
          <p:nvPr/>
        </p:nvSpPr>
        <p:spPr>
          <a:xfrm rot="16200000">
            <a:off x="380935" y="4623349"/>
            <a:ext cx="2061973" cy="3992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SQM-9 </a:t>
            </a:r>
            <a:r>
              <a:rPr kumimoji="0" lang="es-ES" sz="1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ntuación media del dominio </a:t>
            </a:r>
            <a:r>
              <a:rPr kumimoji="0" lang="es-ES" sz="1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día 57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99" name="Grupo 198">
            <a:extLst>
              <a:ext uri="{FF2B5EF4-FFF2-40B4-BE49-F238E27FC236}">
                <a16:creationId xmlns:a16="http://schemas.microsoft.com/office/drawing/2014/main" id="{D4DE67D7-B85E-CD76-3B40-832D8B78675A}"/>
              </a:ext>
            </a:extLst>
          </p:cNvPr>
          <p:cNvGrpSpPr/>
          <p:nvPr/>
        </p:nvGrpSpPr>
        <p:grpSpPr>
          <a:xfrm>
            <a:off x="1321142" y="1244424"/>
            <a:ext cx="4002976" cy="2146413"/>
            <a:chOff x="1509907" y="1211766"/>
            <a:chExt cx="3814201" cy="2146413"/>
          </a:xfrm>
        </p:grpSpPr>
        <p:grpSp>
          <p:nvGrpSpPr>
            <p:cNvPr id="200" name="Grupo 199">
              <a:extLst>
                <a:ext uri="{FF2B5EF4-FFF2-40B4-BE49-F238E27FC236}">
                  <a16:creationId xmlns:a16="http://schemas.microsoft.com/office/drawing/2014/main" id="{6217225A-BD45-DD56-3A14-9B97FCD6B851}"/>
                </a:ext>
              </a:extLst>
            </p:cNvPr>
            <p:cNvGrpSpPr/>
            <p:nvPr/>
          </p:nvGrpSpPr>
          <p:grpSpPr>
            <a:xfrm>
              <a:off x="1616882" y="1327717"/>
              <a:ext cx="3707226" cy="2030462"/>
              <a:chOff x="352254" y="1332500"/>
              <a:chExt cx="4293179" cy="2528647"/>
            </a:xfrm>
          </p:grpSpPr>
          <p:graphicFrame>
            <p:nvGraphicFramePr>
              <p:cNvPr id="202" name="Chart 7">
                <a:extLst>
                  <a:ext uri="{FF2B5EF4-FFF2-40B4-BE49-F238E27FC236}">
                    <a16:creationId xmlns:a16="http://schemas.microsoft.com/office/drawing/2014/main" id="{F1E3ED03-14AF-C607-1AD1-BC3483D9C2B4}"/>
                  </a:ext>
                </a:extLst>
              </p:cNvPr>
              <p:cNvGraphicFramePr/>
              <p:nvPr/>
            </p:nvGraphicFramePr>
            <p:xfrm>
              <a:off x="453129" y="1332500"/>
              <a:ext cx="4192304" cy="252864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203" name="TextBox 95">
                <a:extLst>
                  <a:ext uri="{FF2B5EF4-FFF2-40B4-BE49-F238E27FC236}">
                    <a16:creationId xmlns:a16="http://schemas.microsoft.com/office/drawing/2014/main" id="{FB89024D-DC1B-38C8-79E1-A93C3F1F83A7}"/>
                  </a:ext>
                </a:extLst>
              </p:cNvPr>
              <p:cNvSpPr txBox="1"/>
              <p:nvPr/>
            </p:nvSpPr>
            <p:spPr>
              <a:xfrm>
                <a:off x="352254" y="3549458"/>
                <a:ext cx="750124" cy="28231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122004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33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=290</a:t>
                </a:r>
              </a:p>
            </p:txBody>
          </p:sp>
        </p:grpSp>
        <p:sp>
          <p:nvSpPr>
            <p:cNvPr id="201" name="TextBox 25">
              <a:extLst>
                <a:ext uri="{FF2B5EF4-FFF2-40B4-BE49-F238E27FC236}">
                  <a16:creationId xmlns:a16="http://schemas.microsoft.com/office/drawing/2014/main" id="{E6324043-6FA1-8046-2554-7B9F9C36BAD6}"/>
                </a:ext>
              </a:extLst>
            </p:cNvPr>
            <p:cNvSpPr txBox="1"/>
            <p:nvPr/>
          </p:nvSpPr>
          <p:spPr>
            <a:xfrm rot="16200000">
              <a:off x="651561" y="2070112"/>
              <a:ext cx="213218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SQM-9 </a:t>
              </a:r>
              <a:r>
                <a:rPr kumimoji="0" lang="es-ES" sz="10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untuación media del dominio en la semana 8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06" name="CuadroTexto 205">
            <a:extLst>
              <a:ext uri="{FF2B5EF4-FFF2-40B4-BE49-F238E27FC236}">
                <a16:creationId xmlns:a16="http://schemas.microsoft.com/office/drawing/2014/main" id="{29F8143C-5A52-B113-F9C9-A6FDB7DC2327}"/>
              </a:ext>
            </a:extLst>
          </p:cNvPr>
          <p:cNvSpPr txBox="1"/>
          <p:nvPr/>
        </p:nvSpPr>
        <p:spPr>
          <a:xfrm>
            <a:off x="2725093" y="850834"/>
            <a:ext cx="10214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ana 8</a:t>
            </a:r>
          </a:p>
        </p:txBody>
      </p:sp>
      <p:grpSp>
        <p:nvGrpSpPr>
          <p:cNvPr id="207" name="Grupo 206">
            <a:extLst>
              <a:ext uri="{FF2B5EF4-FFF2-40B4-BE49-F238E27FC236}">
                <a16:creationId xmlns:a16="http://schemas.microsoft.com/office/drawing/2014/main" id="{DCA65789-5940-B291-828D-12B4A2D56D72}"/>
              </a:ext>
            </a:extLst>
          </p:cNvPr>
          <p:cNvGrpSpPr/>
          <p:nvPr/>
        </p:nvGrpSpPr>
        <p:grpSpPr>
          <a:xfrm>
            <a:off x="1934211" y="5652264"/>
            <a:ext cx="3235285" cy="280378"/>
            <a:chOff x="2192872" y="3200387"/>
            <a:chExt cx="3235285" cy="458801"/>
          </a:xfrm>
        </p:grpSpPr>
        <p:sp>
          <p:nvSpPr>
            <p:cNvPr id="208" name="Rectángulo 207">
              <a:extLst>
                <a:ext uri="{FF2B5EF4-FFF2-40B4-BE49-F238E27FC236}">
                  <a16:creationId xmlns:a16="http://schemas.microsoft.com/office/drawing/2014/main" id="{D1CB1382-BE22-4DEF-E070-B05B22DE9FEC}"/>
                </a:ext>
              </a:extLst>
            </p:cNvPr>
            <p:cNvSpPr/>
            <p:nvPr/>
          </p:nvSpPr>
          <p:spPr>
            <a:xfrm>
              <a:off x="2334017" y="3292956"/>
              <a:ext cx="3010870" cy="3662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9" name="CuadroTexto 208">
              <a:extLst>
                <a:ext uri="{FF2B5EF4-FFF2-40B4-BE49-F238E27FC236}">
                  <a16:creationId xmlns:a16="http://schemas.microsoft.com/office/drawing/2014/main" id="{B127DD1E-1AB3-D196-B8C6-5AFA65B78BEA}"/>
                </a:ext>
              </a:extLst>
            </p:cNvPr>
            <p:cNvSpPr txBox="1"/>
            <p:nvPr/>
          </p:nvSpPr>
          <p:spPr>
            <a:xfrm>
              <a:off x="2192872" y="3241463"/>
              <a:ext cx="105210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fectividad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0" name="CuadroTexto 209">
              <a:extLst>
                <a:ext uri="{FF2B5EF4-FFF2-40B4-BE49-F238E27FC236}">
                  <a16:creationId xmlns:a16="http://schemas.microsoft.com/office/drawing/2014/main" id="{A69F83A7-4D8A-79C4-0B75-25C080C8BE00}"/>
                </a:ext>
              </a:extLst>
            </p:cNvPr>
            <p:cNvSpPr txBox="1"/>
            <p:nvPr/>
          </p:nvSpPr>
          <p:spPr>
            <a:xfrm>
              <a:off x="3189913" y="3203912"/>
              <a:ext cx="1177880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veniencia de uso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1" name="CuadroTexto 210">
              <a:extLst>
                <a:ext uri="{FF2B5EF4-FFF2-40B4-BE49-F238E27FC236}">
                  <a16:creationId xmlns:a16="http://schemas.microsoft.com/office/drawing/2014/main" id="{5C321539-A77B-9ADC-E52A-5372862627C7}"/>
                </a:ext>
              </a:extLst>
            </p:cNvPr>
            <p:cNvSpPr txBox="1"/>
            <p:nvPr/>
          </p:nvSpPr>
          <p:spPr>
            <a:xfrm>
              <a:off x="4250277" y="3200387"/>
              <a:ext cx="117788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tisfacción global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12" name="Rectángulo 211">
            <a:extLst>
              <a:ext uri="{FF2B5EF4-FFF2-40B4-BE49-F238E27FC236}">
                <a16:creationId xmlns:a16="http://schemas.microsoft.com/office/drawing/2014/main" id="{92B2250C-A5FD-F07A-5B7A-D8A0FDAF9391}"/>
              </a:ext>
            </a:extLst>
          </p:cNvPr>
          <p:cNvSpPr/>
          <p:nvPr/>
        </p:nvSpPr>
        <p:spPr>
          <a:xfrm>
            <a:off x="3644195" y="1328013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3" name="Rectángulo 212">
            <a:extLst>
              <a:ext uri="{FF2B5EF4-FFF2-40B4-BE49-F238E27FC236}">
                <a16:creationId xmlns:a16="http://schemas.microsoft.com/office/drawing/2014/main" id="{F5EF0D14-522E-1939-1FDA-71688D1A1673}"/>
              </a:ext>
            </a:extLst>
          </p:cNvPr>
          <p:cNvSpPr/>
          <p:nvPr/>
        </p:nvSpPr>
        <p:spPr>
          <a:xfrm>
            <a:off x="4541462" y="1341897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4" name="CuadroTexto 213">
            <a:extLst>
              <a:ext uri="{FF2B5EF4-FFF2-40B4-BE49-F238E27FC236}">
                <a16:creationId xmlns:a16="http://schemas.microsoft.com/office/drawing/2014/main" id="{FBB2AACC-2CA3-1DB7-700D-D0BBC74D8EEA}"/>
              </a:ext>
            </a:extLst>
          </p:cNvPr>
          <p:cNvSpPr txBox="1"/>
          <p:nvPr/>
        </p:nvSpPr>
        <p:spPr>
          <a:xfrm>
            <a:off x="3521040" y="1305326"/>
            <a:ext cx="7722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ínico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5" name="CuadroTexto 214">
            <a:extLst>
              <a:ext uri="{FF2B5EF4-FFF2-40B4-BE49-F238E27FC236}">
                <a16:creationId xmlns:a16="http://schemas.microsoft.com/office/drawing/2014/main" id="{2147A030-4A57-B88F-C87F-6A590DA61D37}"/>
              </a:ext>
            </a:extLst>
          </p:cNvPr>
          <p:cNvSpPr txBox="1"/>
          <p:nvPr/>
        </p:nvSpPr>
        <p:spPr>
          <a:xfrm>
            <a:off x="4438247" y="1309629"/>
            <a:ext cx="86740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6" name="Grupo 215">
            <a:extLst>
              <a:ext uri="{FF2B5EF4-FFF2-40B4-BE49-F238E27FC236}">
                <a16:creationId xmlns:a16="http://schemas.microsoft.com/office/drawing/2014/main" id="{18D2C299-EF93-6832-1EC9-D28F2889733B}"/>
              </a:ext>
            </a:extLst>
          </p:cNvPr>
          <p:cNvGrpSpPr/>
          <p:nvPr/>
        </p:nvGrpSpPr>
        <p:grpSpPr>
          <a:xfrm>
            <a:off x="2098347" y="3089394"/>
            <a:ext cx="3177410" cy="449855"/>
            <a:chOff x="2098347" y="3089394"/>
            <a:chExt cx="3177410" cy="449855"/>
          </a:xfrm>
        </p:grpSpPr>
        <p:sp>
          <p:nvSpPr>
            <p:cNvPr id="217" name="CuadroTexto 216">
              <a:extLst>
                <a:ext uri="{FF2B5EF4-FFF2-40B4-BE49-F238E27FC236}">
                  <a16:creationId xmlns:a16="http://schemas.microsoft.com/office/drawing/2014/main" id="{DC647BD0-9D38-D6F7-2712-577F479CAB5E}"/>
                </a:ext>
              </a:extLst>
            </p:cNvPr>
            <p:cNvSpPr txBox="1"/>
            <p:nvPr/>
          </p:nvSpPr>
          <p:spPr>
            <a:xfrm>
              <a:off x="2098347" y="3126945"/>
              <a:ext cx="105210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fectividad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8" name="CuadroTexto 217">
              <a:extLst>
                <a:ext uri="{FF2B5EF4-FFF2-40B4-BE49-F238E27FC236}">
                  <a16:creationId xmlns:a16="http://schemas.microsoft.com/office/drawing/2014/main" id="{953DF2B1-6CA7-90A1-8D5C-8768579847F6}"/>
                </a:ext>
              </a:extLst>
            </p:cNvPr>
            <p:cNvSpPr txBox="1"/>
            <p:nvPr/>
          </p:nvSpPr>
          <p:spPr>
            <a:xfrm>
              <a:off x="3037513" y="3089394"/>
              <a:ext cx="1177880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veniencia de uso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9" name="CuadroTexto 218">
              <a:extLst>
                <a:ext uri="{FF2B5EF4-FFF2-40B4-BE49-F238E27FC236}">
                  <a16:creationId xmlns:a16="http://schemas.microsoft.com/office/drawing/2014/main" id="{7A205A15-EF2B-6FCD-3061-0470AFA1F889}"/>
                </a:ext>
              </a:extLst>
            </p:cNvPr>
            <p:cNvSpPr txBox="1"/>
            <p:nvPr/>
          </p:nvSpPr>
          <p:spPr>
            <a:xfrm>
              <a:off x="4097877" y="3123751"/>
              <a:ext cx="1177880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tisfacción global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20" name="Grupo 219">
            <a:extLst>
              <a:ext uri="{FF2B5EF4-FFF2-40B4-BE49-F238E27FC236}">
                <a16:creationId xmlns:a16="http://schemas.microsoft.com/office/drawing/2014/main" id="{B9F3CE88-BAEA-16D9-96B9-28741F9B8D76}"/>
              </a:ext>
            </a:extLst>
          </p:cNvPr>
          <p:cNvGrpSpPr/>
          <p:nvPr/>
        </p:nvGrpSpPr>
        <p:grpSpPr>
          <a:xfrm>
            <a:off x="5650616" y="843132"/>
            <a:ext cx="5672913" cy="4787686"/>
            <a:chOff x="5650616" y="843132"/>
            <a:chExt cx="5672913" cy="4787686"/>
          </a:xfrm>
        </p:grpSpPr>
        <p:grpSp>
          <p:nvGrpSpPr>
            <p:cNvPr id="221" name="Grupo 220">
              <a:extLst>
                <a:ext uri="{FF2B5EF4-FFF2-40B4-BE49-F238E27FC236}">
                  <a16:creationId xmlns:a16="http://schemas.microsoft.com/office/drawing/2014/main" id="{4E8489F8-78EE-A3A9-1E26-5D58F4A56681}"/>
                </a:ext>
              </a:extLst>
            </p:cNvPr>
            <p:cNvGrpSpPr/>
            <p:nvPr/>
          </p:nvGrpSpPr>
          <p:grpSpPr>
            <a:xfrm>
              <a:off x="7254240" y="4454164"/>
              <a:ext cx="3553954" cy="1176654"/>
              <a:chOff x="7172960" y="4421506"/>
              <a:chExt cx="3553954" cy="1176654"/>
            </a:xfrm>
          </p:grpSpPr>
          <p:sp>
            <p:nvSpPr>
              <p:cNvPr id="241" name="Rectángulo 240">
                <a:extLst>
                  <a:ext uri="{FF2B5EF4-FFF2-40B4-BE49-F238E27FC236}">
                    <a16:creationId xmlns:a16="http://schemas.microsoft.com/office/drawing/2014/main" id="{BB550544-C146-54F0-EC49-84206174510A}"/>
                  </a:ext>
                </a:extLst>
              </p:cNvPr>
              <p:cNvSpPr/>
              <p:nvPr/>
            </p:nvSpPr>
            <p:spPr>
              <a:xfrm>
                <a:off x="7172960" y="4421506"/>
                <a:ext cx="3553954" cy="1176654"/>
              </a:xfrm>
              <a:prstGeom prst="rect">
                <a:avLst/>
              </a:prstGeom>
              <a:solidFill>
                <a:srgbClr val="FFCCCC">
                  <a:alpha val="36863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2" name="Marcador de texto 2">
                <a:extLst>
                  <a:ext uri="{FF2B5EF4-FFF2-40B4-BE49-F238E27FC236}">
                    <a16:creationId xmlns:a16="http://schemas.microsoft.com/office/drawing/2014/main" id="{E14D7514-B124-26EF-0444-F4837CC6478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297477" y="4523773"/>
                <a:ext cx="3343411" cy="902253"/>
              </a:xfrm>
              <a:prstGeom prst="rect">
                <a:avLst/>
              </a:prstGeom>
            </p:spPr>
            <p:txBody>
              <a:bodyPr>
                <a:normAutofit fontScale="77500" lnSpcReduction="20000"/>
              </a:bodyPr>
              <a:lstStyle>
                <a:lvl1pPr marL="228594" indent="-228594" algn="l" defTabSz="914377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783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2971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160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349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537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726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914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103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just" defTabSz="914377" rtl="0" eaLnBrk="1" fontAlgn="auto" latinLnBrk="0" hangingPunct="1">
                  <a:lnSpc>
                    <a:spcPct val="15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a </a:t>
                </a:r>
                <a:r>
                  <a:rPr kumimoji="0" lang="es-ES" sz="1900" b="1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atisfacción </a:t>
                </a: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l clínico y del paciente </a:t>
                </a:r>
                <a:r>
                  <a:rPr kumimoji="0" lang="es-E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ue </a:t>
                </a:r>
                <a:r>
                  <a:rPr kumimoji="0" lang="es-E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ta</a:t>
                </a:r>
                <a:r>
                  <a:rPr kumimoji="0" lang="es-E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en la semana 8</a:t>
                </a:r>
                <a:r>
                  <a:rPr kumimoji="0" lang="es-ES" sz="1400" b="1" i="0" u="none" strike="noStrike" kern="1200" cap="none" spc="0" normalizeH="0" baseline="3000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 </a:t>
                </a: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y se mantuvo en el PROAK  </a:t>
                </a:r>
                <a:r>
                  <a:rPr kumimoji="0" lang="es-E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asta la semana 24</a:t>
                </a:r>
                <a:r>
                  <a:rPr kumimoji="0" lang="es-ES" sz="1400" b="1" i="0" u="none" strike="noStrike" kern="1200" cap="none" spc="0" normalizeH="0" baseline="3000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</a:t>
                </a:r>
                <a:r>
                  <a:rPr kumimoji="0" lang="es-ES" sz="1400" b="0" i="0" u="none" strike="noStrike" kern="1200" cap="none" spc="0" normalizeH="0" baseline="3000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.</a:t>
                </a:r>
                <a:endParaRPr kumimoji="0" lang="es-ES" sz="14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22" name="CuadroTexto 221">
              <a:extLst>
                <a:ext uri="{FF2B5EF4-FFF2-40B4-BE49-F238E27FC236}">
                  <a16:creationId xmlns:a16="http://schemas.microsoft.com/office/drawing/2014/main" id="{06FFB599-6253-4394-4669-846FABE579E9}"/>
                </a:ext>
              </a:extLst>
            </p:cNvPr>
            <p:cNvSpPr txBox="1"/>
            <p:nvPr/>
          </p:nvSpPr>
          <p:spPr>
            <a:xfrm>
              <a:off x="8583952" y="843132"/>
              <a:ext cx="120395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mana 24</a:t>
              </a:r>
            </a:p>
          </p:txBody>
        </p:sp>
        <p:grpSp>
          <p:nvGrpSpPr>
            <p:cNvPr id="223" name="Grupo 222">
              <a:extLst>
                <a:ext uri="{FF2B5EF4-FFF2-40B4-BE49-F238E27FC236}">
                  <a16:creationId xmlns:a16="http://schemas.microsoft.com/office/drawing/2014/main" id="{FD3C48DF-E4FB-1777-5110-FB0972E466EE}"/>
                </a:ext>
              </a:extLst>
            </p:cNvPr>
            <p:cNvGrpSpPr/>
            <p:nvPr/>
          </p:nvGrpSpPr>
          <p:grpSpPr>
            <a:xfrm>
              <a:off x="7004686" y="1424472"/>
              <a:ext cx="4193584" cy="2826211"/>
              <a:chOff x="17093437" y="7728130"/>
              <a:chExt cx="13269942" cy="8739467"/>
            </a:xfrm>
          </p:grpSpPr>
          <p:grpSp>
            <p:nvGrpSpPr>
              <p:cNvPr id="235" name="Group 22">
                <a:extLst>
                  <a:ext uri="{FF2B5EF4-FFF2-40B4-BE49-F238E27FC236}">
                    <a16:creationId xmlns:a16="http://schemas.microsoft.com/office/drawing/2014/main" id="{D253E5AF-41E3-2186-31DE-4A6B5B268924}"/>
                  </a:ext>
                </a:extLst>
              </p:cNvPr>
              <p:cNvGrpSpPr/>
              <p:nvPr/>
            </p:nvGrpSpPr>
            <p:grpSpPr>
              <a:xfrm>
                <a:off x="17864491" y="7860893"/>
                <a:ext cx="12498888" cy="8574986"/>
                <a:chOff x="10244356" y="1569777"/>
                <a:chExt cx="5032020" cy="2846347"/>
              </a:xfrm>
            </p:grpSpPr>
            <p:graphicFrame>
              <p:nvGraphicFramePr>
                <p:cNvPr id="239" name="Chart 7">
                  <a:extLst>
                    <a:ext uri="{FF2B5EF4-FFF2-40B4-BE49-F238E27FC236}">
                      <a16:creationId xmlns:a16="http://schemas.microsoft.com/office/drawing/2014/main" id="{D0B30778-972A-6707-2FEA-9CCF62CFE6B3}"/>
                    </a:ext>
                  </a:extLst>
                </p:cNvPr>
                <p:cNvGraphicFramePr/>
                <p:nvPr/>
              </p:nvGraphicFramePr>
              <p:xfrm>
                <a:off x="10244356" y="1569777"/>
                <a:ext cx="5032020" cy="2549566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240" name="TextBox 95">
                  <a:extLst>
                    <a:ext uri="{FF2B5EF4-FFF2-40B4-BE49-F238E27FC236}">
                      <a16:creationId xmlns:a16="http://schemas.microsoft.com/office/drawing/2014/main" id="{8060353C-B007-0F0D-1352-82EB3AD9FA34}"/>
                    </a:ext>
                  </a:extLst>
                </p:cNvPr>
                <p:cNvSpPr txBox="1"/>
                <p:nvPr/>
              </p:nvSpPr>
              <p:spPr>
                <a:xfrm>
                  <a:off x="11169275" y="4124712"/>
                  <a:ext cx="894895" cy="29141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122004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33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6F6F6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N=275</a:t>
                  </a:r>
                </a:p>
              </p:txBody>
            </p:sp>
          </p:grpSp>
          <p:sp>
            <p:nvSpPr>
              <p:cNvPr id="236" name="TextBox 95">
                <a:extLst>
                  <a:ext uri="{FF2B5EF4-FFF2-40B4-BE49-F238E27FC236}">
                    <a16:creationId xmlns:a16="http://schemas.microsoft.com/office/drawing/2014/main" id="{527D0AC4-5C11-9331-088F-D1FEB9D6FD28}"/>
                  </a:ext>
                </a:extLst>
              </p:cNvPr>
              <p:cNvSpPr txBox="1"/>
              <p:nvPr/>
            </p:nvSpPr>
            <p:spPr>
              <a:xfrm>
                <a:off x="23307610" y="15589680"/>
                <a:ext cx="2991365" cy="8779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2004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33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=276</a:t>
                </a:r>
              </a:p>
            </p:txBody>
          </p:sp>
          <p:sp>
            <p:nvSpPr>
              <p:cNvPr id="237" name="TextBox 95">
                <a:extLst>
                  <a:ext uri="{FF2B5EF4-FFF2-40B4-BE49-F238E27FC236}">
                    <a16:creationId xmlns:a16="http://schemas.microsoft.com/office/drawing/2014/main" id="{B0525B8C-2A3F-A1C5-6FCC-EAC3DC2B6BB5}"/>
                  </a:ext>
                </a:extLst>
              </p:cNvPr>
              <p:cNvSpPr txBox="1"/>
              <p:nvPr/>
            </p:nvSpPr>
            <p:spPr>
              <a:xfrm>
                <a:off x="26815570" y="15615803"/>
                <a:ext cx="2705868" cy="7510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2004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33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=276</a:t>
                </a:r>
              </a:p>
            </p:txBody>
          </p:sp>
          <p:sp>
            <p:nvSpPr>
              <p:cNvPr id="238" name="TextBox 25">
                <a:extLst>
                  <a:ext uri="{FF2B5EF4-FFF2-40B4-BE49-F238E27FC236}">
                    <a16:creationId xmlns:a16="http://schemas.microsoft.com/office/drawing/2014/main" id="{1AC783E5-687E-CC9B-FCB6-C1BADC178163}"/>
                  </a:ext>
                </a:extLst>
              </p:cNvPr>
              <p:cNvSpPr txBox="1"/>
              <p:nvPr/>
            </p:nvSpPr>
            <p:spPr>
              <a:xfrm rot="16200000">
                <a:off x="14024044" y="10797523"/>
                <a:ext cx="7680898" cy="15421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8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kumimoji="0" lang="en-US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SQM-9 </a:t>
                </a:r>
                <a:r>
                  <a:rPr kumimoji="0" lang="es-ES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untuación media del dominio en la semana </a:t>
                </a:r>
                <a:r>
                  <a:rPr kumimoji="0" lang="en-US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24</a:t>
                </a:r>
              </a:p>
            </p:txBody>
          </p:sp>
        </p:grpSp>
        <p:sp>
          <p:nvSpPr>
            <p:cNvPr id="224" name="Rectángulo 223">
              <a:extLst>
                <a:ext uri="{FF2B5EF4-FFF2-40B4-BE49-F238E27FC236}">
                  <a16:creationId xmlns:a16="http://schemas.microsoft.com/office/drawing/2014/main" id="{9513C670-120C-DF46-3E76-40A2339B9556}"/>
                </a:ext>
              </a:extLst>
            </p:cNvPr>
            <p:cNvSpPr/>
            <p:nvPr/>
          </p:nvSpPr>
          <p:spPr>
            <a:xfrm>
              <a:off x="6783829" y="1145707"/>
              <a:ext cx="4539700" cy="3219465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5" name="Flecha: a la derecha 224">
              <a:extLst>
                <a:ext uri="{FF2B5EF4-FFF2-40B4-BE49-F238E27FC236}">
                  <a16:creationId xmlns:a16="http://schemas.microsoft.com/office/drawing/2014/main" id="{2FAF4D86-4F35-FCDE-571C-D72FC74923BD}"/>
                </a:ext>
              </a:extLst>
            </p:cNvPr>
            <p:cNvSpPr/>
            <p:nvPr/>
          </p:nvSpPr>
          <p:spPr>
            <a:xfrm>
              <a:off x="5650616" y="2367785"/>
              <a:ext cx="806705" cy="332917"/>
            </a:xfrm>
            <a:prstGeom prst="rightArrow">
              <a:avLst/>
            </a:prstGeom>
            <a:solidFill>
              <a:srgbClr val="B4E1D6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7" name="Rectángulo 226">
              <a:extLst>
                <a:ext uri="{FF2B5EF4-FFF2-40B4-BE49-F238E27FC236}">
                  <a16:creationId xmlns:a16="http://schemas.microsoft.com/office/drawing/2014/main" id="{48A4C7AB-9BD2-11B9-9635-6339FCD7C20E}"/>
                </a:ext>
              </a:extLst>
            </p:cNvPr>
            <p:cNvSpPr/>
            <p:nvPr/>
          </p:nvSpPr>
          <p:spPr>
            <a:xfrm>
              <a:off x="9459498" y="1447020"/>
              <a:ext cx="638903" cy="2114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8" name="Rectángulo 227">
              <a:extLst>
                <a:ext uri="{FF2B5EF4-FFF2-40B4-BE49-F238E27FC236}">
                  <a16:creationId xmlns:a16="http://schemas.microsoft.com/office/drawing/2014/main" id="{4967FBDA-FD72-3D1A-5A60-753DE08C2B36}"/>
                </a:ext>
              </a:extLst>
            </p:cNvPr>
            <p:cNvSpPr/>
            <p:nvPr/>
          </p:nvSpPr>
          <p:spPr>
            <a:xfrm>
              <a:off x="10484090" y="1437754"/>
              <a:ext cx="638903" cy="2114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9" name="CuadroTexto 228">
              <a:extLst>
                <a:ext uri="{FF2B5EF4-FFF2-40B4-BE49-F238E27FC236}">
                  <a16:creationId xmlns:a16="http://schemas.microsoft.com/office/drawing/2014/main" id="{F0B2B512-C16C-562C-8545-D9613F0BF879}"/>
                </a:ext>
              </a:extLst>
            </p:cNvPr>
            <p:cNvSpPr txBox="1"/>
            <p:nvPr/>
          </p:nvSpPr>
          <p:spPr>
            <a:xfrm>
              <a:off x="9279541" y="1434601"/>
              <a:ext cx="86863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ínicos</a:t>
              </a:r>
              <a:endPara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0" name="CuadroTexto 229">
              <a:extLst>
                <a:ext uri="{FF2B5EF4-FFF2-40B4-BE49-F238E27FC236}">
                  <a16:creationId xmlns:a16="http://schemas.microsoft.com/office/drawing/2014/main" id="{6892221D-0701-149D-0AD8-0BF5F27DA805}"/>
                </a:ext>
              </a:extLst>
            </p:cNvPr>
            <p:cNvSpPr txBox="1"/>
            <p:nvPr/>
          </p:nvSpPr>
          <p:spPr>
            <a:xfrm>
              <a:off x="10357725" y="1428636"/>
              <a:ext cx="867402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cientes</a:t>
              </a:r>
              <a:endPara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31" name="Grupo 230">
              <a:extLst>
                <a:ext uri="{FF2B5EF4-FFF2-40B4-BE49-F238E27FC236}">
                  <a16:creationId xmlns:a16="http://schemas.microsoft.com/office/drawing/2014/main" id="{63F480D8-FDE6-A9F5-F0F7-8410DC651A57}"/>
                </a:ext>
              </a:extLst>
            </p:cNvPr>
            <p:cNvGrpSpPr/>
            <p:nvPr/>
          </p:nvGrpSpPr>
          <p:grpSpPr>
            <a:xfrm>
              <a:off x="7914174" y="3541479"/>
              <a:ext cx="3177410" cy="449855"/>
              <a:chOff x="2098347" y="3089394"/>
              <a:chExt cx="3177410" cy="449855"/>
            </a:xfrm>
          </p:grpSpPr>
          <p:sp>
            <p:nvSpPr>
              <p:cNvPr id="232" name="CuadroTexto 231">
                <a:extLst>
                  <a:ext uri="{FF2B5EF4-FFF2-40B4-BE49-F238E27FC236}">
                    <a16:creationId xmlns:a16="http://schemas.microsoft.com/office/drawing/2014/main" id="{4BE27E0F-E70F-28EE-4E06-F65A9279081B}"/>
                  </a:ext>
                </a:extLst>
              </p:cNvPr>
              <p:cNvSpPr txBox="1"/>
              <p:nvPr/>
            </p:nvSpPr>
            <p:spPr>
              <a:xfrm>
                <a:off x="2098347" y="3126945"/>
                <a:ext cx="1052102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fectividad</a:t>
                </a:r>
                <a:endParaRPr kumimoji="0" lang="es-E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3" name="CuadroTexto 232">
                <a:extLst>
                  <a:ext uri="{FF2B5EF4-FFF2-40B4-BE49-F238E27FC236}">
                    <a16:creationId xmlns:a16="http://schemas.microsoft.com/office/drawing/2014/main" id="{31AEAD00-E913-BE6F-3472-7DC5EE79D09B}"/>
                  </a:ext>
                </a:extLst>
              </p:cNvPr>
              <p:cNvSpPr txBox="1"/>
              <p:nvPr/>
            </p:nvSpPr>
            <p:spPr>
              <a:xfrm>
                <a:off x="3037513" y="3089394"/>
                <a:ext cx="1177880" cy="4154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veniencia de uso</a:t>
                </a:r>
                <a:endParaRPr kumimoji="0" lang="es-E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4" name="CuadroTexto 233">
                <a:extLst>
                  <a:ext uri="{FF2B5EF4-FFF2-40B4-BE49-F238E27FC236}">
                    <a16:creationId xmlns:a16="http://schemas.microsoft.com/office/drawing/2014/main" id="{8D33BE39-9E8F-1F1E-9091-C591249BEACA}"/>
                  </a:ext>
                </a:extLst>
              </p:cNvPr>
              <p:cNvSpPr txBox="1"/>
              <p:nvPr/>
            </p:nvSpPr>
            <p:spPr>
              <a:xfrm>
                <a:off x="4097877" y="3123751"/>
                <a:ext cx="1177880" cy="4154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1050" b="0" i="0" u="none" strike="noStrike" kern="120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atisfacción global</a:t>
                </a:r>
                <a:endParaRPr kumimoji="0" lang="es-E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46" name="CuadroTexto 245">
            <a:extLst>
              <a:ext uri="{FF2B5EF4-FFF2-40B4-BE49-F238E27FC236}">
                <a16:creationId xmlns:a16="http://schemas.microsoft.com/office/drawing/2014/main" id="{73D1929C-65B0-13D6-A39F-56CEC12C7E56}"/>
              </a:ext>
            </a:extLst>
          </p:cNvPr>
          <p:cNvSpPr txBox="1"/>
          <p:nvPr/>
        </p:nvSpPr>
        <p:spPr>
          <a:xfrm>
            <a:off x="154762" y="843029"/>
            <a:ext cx="1837324" cy="338554"/>
          </a:xfrm>
          <a:prstGeom prst="rect">
            <a:avLst/>
          </a:prstGeom>
          <a:solidFill>
            <a:srgbClr val="002855">
              <a:lumMod val="10000"/>
              <a:lumOff val="9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Estudio PROAK</a:t>
            </a:r>
            <a:r>
              <a:rPr kumimoji="0" lang="es-ES_tradnl" sz="1600" b="0" i="0" u="none" strike="noStrike" kern="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1</a:t>
            </a:r>
            <a:endParaRPr kumimoji="0" lang="es-ES" sz="1600" b="0" i="0" u="none" strike="noStrike" kern="0" cap="none" spc="0" normalizeH="0" baseline="3000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247" name="CuadroTexto 246">
            <a:extLst>
              <a:ext uri="{FF2B5EF4-FFF2-40B4-BE49-F238E27FC236}">
                <a16:creationId xmlns:a16="http://schemas.microsoft.com/office/drawing/2014/main" id="{F5EA313D-49E6-2B56-3373-1061C6627032}"/>
              </a:ext>
            </a:extLst>
          </p:cNvPr>
          <p:cNvSpPr txBox="1"/>
          <p:nvPr/>
        </p:nvSpPr>
        <p:spPr>
          <a:xfrm>
            <a:off x="82184" y="3462460"/>
            <a:ext cx="1909902" cy="338554"/>
          </a:xfrm>
          <a:prstGeom prst="rect">
            <a:avLst/>
          </a:prstGeom>
          <a:solidFill>
            <a:srgbClr val="002855">
              <a:lumMod val="10000"/>
              <a:lumOff val="9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Estudio TirbaSkin</a:t>
            </a:r>
            <a:r>
              <a:rPr kumimoji="0" lang="es-ES_tradnl" sz="1600" b="0" i="0" u="none" strike="noStrike" kern="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3</a:t>
            </a:r>
            <a:endParaRPr kumimoji="0" lang="es-ES" sz="1600" b="0" i="0" u="none" strike="noStrike" kern="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248" name="CuadroTexto 247">
            <a:extLst>
              <a:ext uri="{FF2B5EF4-FFF2-40B4-BE49-F238E27FC236}">
                <a16:creationId xmlns:a16="http://schemas.microsoft.com/office/drawing/2014/main" id="{3893E071-B989-ABBD-6B12-B2E7922433C5}"/>
              </a:ext>
            </a:extLst>
          </p:cNvPr>
          <p:cNvSpPr txBox="1"/>
          <p:nvPr/>
        </p:nvSpPr>
        <p:spPr>
          <a:xfrm>
            <a:off x="6017247" y="901311"/>
            <a:ext cx="1837324" cy="338554"/>
          </a:xfrm>
          <a:prstGeom prst="rect">
            <a:avLst/>
          </a:prstGeom>
          <a:solidFill>
            <a:srgbClr val="002855">
              <a:lumMod val="10000"/>
              <a:lumOff val="9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Estudio PROAK</a:t>
            </a:r>
            <a:r>
              <a:rPr kumimoji="0" lang="es-ES_tradnl" sz="1600" b="0" i="0" u="none" strike="noStrike" kern="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2</a:t>
            </a:r>
            <a:endParaRPr kumimoji="0" lang="es-ES" sz="1600" b="0" i="0" u="none" strike="noStrike" kern="0" cap="none" spc="0" normalizeH="0" baseline="3000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92964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06DE64B0-CA40-931F-316B-9F8C26731298}"/>
              </a:ext>
            </a:extLst>
          </p:cNvPr>
          <p:cNvSpPr txBox="1"/>
          <p:nvPr/>
        </p:nvSpPr>
        <p:spPr>
          <a:xfrm>
            <a:off x="350199" y="266166"/>
            <a:ext cx="8974728" cy="938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tabLst/>
              <a:defRPr/>
            </a:pPr>
            <a:r>
              <a:rPr lang="es-ES" sz="2500" b="1">
                <a:solidFill>
                  <a:srgbClr val="E93C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Considera que en la QA la eficacia está relacionada con la gravedad de los efectos adversos del tratamiento?</a:t>
            </a:r>
          </a:p>
        </p:txBody>
      </p:sp>
      <p:sp>
        <p:nvSpPr>
          <p:cNvPr id="19" name="TextBox 32">
            <a:extLst>
              <a:ext uri="{FF2B5EF4-FFF2-40B4-BE49-F238E27FC236}">
                <a16:creationId xmlns:a16="http://schemas.microsoft.com/office/drawing/2014/main" id="{8D01AE91-0E01-BF00-DCB4-DB3A58476067}"/>
              </a:ext>
            </a:extLst>
          </p:cNvPr>
          <p:cNvSpPr txBox="1"/>
          <p:nvPr/>
        </p:nvSpPr>
        <p:spPr>
          <a:xfrm>
            <a:off x="2010289" y="6375392"/>
            <a:ext cx="81917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hatia N. Commentary: Complete Clearance of Actinic Keratosis with </a:t>
            </a: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rbanibulin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intment 1% is not Correlated with the Severity of Local Skin Reactions. J Clin </a:t>
            </a: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esthet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rmatol. 2022 Oct;15(10 Suppl 1):S13-S14. </a:t>
            </a: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rman, B., Schlesinger T., Bhatia N., et al. SKIN The Journal of Cutaneous Medicine. 2022:6:s25.</a:t>
            </a: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868841BC-7F31-5375-2E62-D8C2902B4014}"/>
              </a:ext>
            </a:extLst>
          </p:cNvPr>
          <p:cNvGrpSpPr/>
          <p:nvPr/>
        </p:nvGrpSpPr>
        <p:grpSpPr>
          <a:xfrm>
            <a:off x="1671337" y="2440110"/>
            <a:ext cx="7675362" cy="2231508"/>
            <a:chOff x="1206877" y="2071447"/>
            <a:chExt cx="7675362" cy="2231508"/>
          </a:xfrm>
        </p:grpSpPr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50D50DA8-27D7-C47A-919A-2721E8826616}"/>
                </a:ext>
              </a:extLst>
            </p:cNvPr>
            <p:cNvSpPr txBox="1"/>
            <p:nvPr/>
          </p:nvSpPr>
          <p:spPr>
            <a:xfrm>
              <a:off x="1937488" y="4087511"/>
              <a:ext cx="5610161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800" b="0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</a:rPr>
                <a:t>Imagen de 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ea typeface="Arial" panose="020B0604020202020204" pitchFamily="34" charset="0"/>
                  <a:cs typeface="Arial" panose="020B0604020202020204" pitchFamily="34" charset="0"/>
                </a:rPr>
                <a:t>Berman, B., Schlesinger T., Bhatia N., et al. SKIN The Journal of Cutaneous Medicine. 2022:6:s25</a:t>
              </a:r>
              <a:endParaRPr kumimoji="0" lang="es-ES" sz="800" b="0" i="0" u="none" strike="noStrike" kern="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</a:endParaRPr>
            </a:p>
          </p:txBody>
        </p:sp>
        <p:grpSp>
          <p:nvGrpSpPr>
            <p:cNvPr id="22" name="Grupo 21">
              <a:extLst>
                <a:ext uri="{FF2B5EF4-FFF2-40B4-BE49-F238E27FC236}">
                  <a16:creationId xmlns:a16="http://schemas.microsoft.com/office/drawing/2014/main" id="{BED145EC-3004-7AA1-A255-00CB0A12A2F4}"/>
                </a:ext>
              </a:extLst>
            </p:cNvPr>
            <p:cNvGrpSpPr/>
            <p:nvPr/>
          </p:nvGrpSpPr>
          <p:grpSpPr>
            <a:xfrm>
              <a:off x="1206877" y="2071447"/>
              <a:ext cx="7675362" cy="1959124"/>
              <a:chOff x="1081239" y="2098589"/>
              <a:chExt cx="9362379" cy="3117683"/>
            </a:xfrm>
          </p:grpSpPr>
          <p:pic>
            <p:nvPicPr>
              <p:cNvPr id="23" name="Imagen 22">
                <a:extLst>
                  <a:ext uri="{FF2B5EF4-FFF2-40B4-BE49-F238E27FC236}">
                    <a16:creationId xmlns:a16="http://schemas.microsoft.com/office/drawing/2014/main" id="{E4814C1A-F0AF-627C-CC67-FEA2329D5E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347787" y="2098589"/>
                <a:ext cx="9095831" cy="3117683"/>
              </a:xfrm>
              <a:prstGeom prst="rect">
                <a:avLst/>
              </a:prstGeom>
            </p:spPr>
          </p:pic>
          <p:sp>
            <p:nvSpPr>
              <p:cNvPr id="24" name="CuadroTexto 10">
                <a:extLst>
                  <a:ext uri="{FF2B5EF4-FFF2-40B4-BE49-F238E27FC236}">
                    <a16:creationId xmlns:a16="http://schemas.microsoft.com/office/drawing/2014/main" id="{7E61D744-1BD0-8FE3-8255-9F348A853BD0}"/>
                  </a:ext>
                </a:extLst>
              </p:cNvPr>
              <p:cNvSpPr txBox="1"/>
              <p:nvPr/>
            </p:nvSpPr>
            <p:spPr>
              <a:xfrm rot="16200000">
                <a:off x="-63004" y="3322083"/>
                <a:ext cx="2821589" cy="533103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square" rtlCol="0">
                <a:spAutoFit/>
              </a:bodyPr>
              <a:lstStyle>
                <a:defPPr>
                  <a:defRPr lang="es-ES"/>
                </a:defPPr>
                <a:lvl1pPr>
                  <a:lnSpc>
                    <a:spcPct val="80000"/>
                  </a:lnSpc>
                  <a:defRPr b="1">
                    <a:solidFill>
                      <a:schemeClr val="accent4"/>
                    </a:solidFill>
                    <a:latin typeface="Avenir Book" panose="02000503020000020003" pitchFamily="2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121917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cs typeface="Arial" panose="020B0604020202020204" pitchFamily="34" charset="0"/>
                  </a:rPr>
                  <a:t>Porcentaje de pacientes</a:t>
                </a:r>
                <a:endParaRPr kumimoji="0" lang="es-ES" sz="1400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5" name="CuadroTexto 24">
            <a:extLst>
              <a:ext uri="{FF2B5EF4-FFF2-40B4-BE49-F238E27FC236}">
                <a16:creationId xmlns:a16="http://schemas.microsoft.com/office/drawing/2014/main" id="{C8EB91BA-5A6B-B3E7-0F7D-31BABEAB5B5C}"/>
              </a:ext>
            </a:extLst>
          </p:cNvPr>
          <p:cNvSpPr txBox="1"/>
          <p:nvPr/>
        </p:nvSpPr>
        <p:spPr>
          <a:xfrm>
            <a:off x="9503742" y="2431546"/>
            <a:ext cx="2269411" cy="1672702"/>
          </a:xfrm>
          <a:prstGeom prst="rect">
            <a:avLst/>
          </a:prstGeom>
          <a:solidFill>
            <a:srgbClr val="FFEF9A"/>
          </a:solidFill>
        </p:spPr>
        <p:txBody>
          <a:bodyPr wrap="square">
            <a:spAutoFit/>
          </a:bodyPr>
          <a:lstStyle/>
          <a:p>
            <a:pPr marL="0" marR="0" lvl="0" indent="0" algn="just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67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Entre los pacientes con aclaramiento completo tras el tratamiento con </a:t>
            </a:r>
            <a:r>
              <a:rPr kumimoji="0" lang="es-ES_tradnl" sz="1467" b="0" i="0" u="none" strike="noStrike" kern="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tirbanibulina</a:t>
            </a:r>
            <a:r>
              <a:rPr kumimoji="0" lang="es-ES_tradnl" sz="1467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 al 1% el 70.2% obtienen un </a:t>
            </a:r>
            <a:r>
              <a:rPr kumimoji="0" lang="es-ES_tradnl" sz="1467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valor </a:t>
            </a:r>
            <a:r>
              <a:rPr kumimoji="0" lang="es-ES_tradnl" sz="1467" b="1" i="0" u="none" strike="noStrike" kern="1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≤</a:t>
            </a:r>
            <a:r>
              <a:rPr kumimoji="0" lang="es-ES_tradnl" sz="1467" b="1" i="0" u="none" strike="noStrike" kern="1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5 en la escala compuesta de LSR</a:t>
            </a:r>
            <a:r>
              <a:rPr kumimoji="0" lang="es-ES_tradnl" sz="1467" b="0" i="0" u="none" strike="noStrike" kern="100" cap="none" spc="0" normalizeH="0" baseline="3000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kumimoji="0" lang="es-ES_tradnl" sz="1467" b="0" i="0" u="none" strike="noStrike" kern="1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</a:p>
        </p:txBody>
      </p:sp>
      <p:sp>
        <p:nvSpPr>
          <p:cNvPr id="26" name="Marcador de contenido 4">
            <a:extLst>
              <a:ext uri="{FF2B5EF4-FFF2-40B4-BE49-F238E27FC236}">
                <a16:creationId xmlns:a16="http://schemas.microsoft.com/office/drawing/2014/main" id="{CB8B0D12-A30D-34CA-7A43-643709F0EA8C}"/>
              </a:ext>
            </a:extLst>
          </p:cNvPr>
          <p:cNvSpPr txBox="1">
            <a:spLocks/>
          </p:cNvSpPr>
          <p:nvPr/>
        </p:nvSpPr>
        <p:spPr>
          <a:xfrm>
            <a:off x="2401948" y="4875096"/>
            <a:ext cx="6587273" cy="322473"/>
          </a:xfrm>
          <a:prstGeom prst="roundRect">
            <a:avLst/>
          </a:prstGeom>
          <a:solidFill>
            <a:srgbClr val="003466"/>
          </a:solidFill>
          <a:ln w="28575">
            <a:solidFill>
              <a:srgbClr val="FFEF9A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spcBef>
                <a:spcPts val="1333"/>
              </a:spcBef>
            </a:pPr>
            <a:r>
              <a:rPr lang="es-ES" sz="1467">
                <a:solidFill>
                  <a:srgbClr val="FFFFFF"/>
                </a:solidFill>
                <a:latin typeface="Arial"/>
              </a:rPr>
              <a:t>La tasa de aclaramiento no tiene por qué depender de LSR graves.</a:t>
            </a:r>
            <a:r>
              <a:rPr lang="es-ES" sz="1467" baseline="30000">
                <a:solidFill>
                  <a:srgbClr val="FFFFFF"/>
                </a:solidFill>
                <a:latin typeface="Arial"/>
              </a:rPr>
              <a:t>1</a:t>
            </a:r>
            <a:r>
              <a:rPr lang="es-ES" sz="1467">
                <a:solidFill>
                  <a:srgbClr val="FFFFFF"/>
                </a:solidFill>
                <a:latin typeface="Arial"/>
              </a:rPr>
              <a:t> 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52E4628E-47CA-58D5-A253-A11D0A29A7BF}"/>
              </a:ext>
            </a:extLst>
          </p:cNvPr>
          <p:cNvSpPr txBox="1"/>
          <p:nvPr/>
        </p:nvSpPr>
        <p:spPr>
          <a:xfrm>
            <a:off x="2486298" y="5782472"/>
            <a:ext cx="72194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0" i="0" u="none" strike="noStrike" kern="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</a:rPr>
              <a:t>*La Escala de las LSR es una Escala de 0 a 18 puntos que mide la severidad de las reacciones cutáneas puntuando del 0 (sin LRS) a 3 (LSR grave) cada uno de los signos siguientes: eritema, descamación, </a:t>
            </a:r>
            <a:r>
              <a:rPr kumimoji="0" lang="es-ES" sz="900" b="0" i="0" u="none" strike="noStrike" kern="0" cap="none" spc="0" normalizeH="0" baseline="0" noProof="0" err="1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</a:rPr>
              <a:t>encostración</a:t>
            </a:r>
            <a:r>
              <a:rPr kumimoji="0" lang="es-ES" sz="900" b="0" i="0" u="none" strike="noStrike" kern="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</a:rPr>
              <a:t>, inflamación, vesiculación y erosión.</a:t>
            </a:r>
            <a:r>
              <a:rPr kumimoji="0" lang="es-ES" sz="900" b="0" i="0" u="none" strike="noStrike" kern="0" cap="none" spc="0" normalizeH="0" baseline="3000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</a:rPr>
              <a:t>2</a:t>
            </a:r>
            <a:r>
              <a:rPr kumimoji="0" lang="es-ES" sz="900" b="0" i="0" u="none" strike="noStrike" kern="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</a:rPr>
              <a:t> </a:t>
            </a:r>
          </a:p>
        </p:txBody>
      </p:sp>
      <p:grpSp>
        <p:nvGrpSpPr>
          <p:cNvPr id="28" name="Grupo 27">
            <a:extLst>
              <a:ext uri="{FF2B5EF4-FFF2-40B4-BE49-F238E27FC236}">
                <a16:creationId xmlns:a16="http://schemas.microsoft.com/office/drawing/2014/main" id="{C19AD564-7DAD-352E-805B-7C3DC68B99C5}"/>
              </a:ext>
            </a:extLst>
          </p:cNvPr>
          <p:cNvGrpSpPr/>
          <p:nvPr/>
        </p:nvGrpSpPr>
        <p:grpSpPr>
          <a:xfrm>
            <a:off x="402519" y="1513951"/>
            <a:ext cx="1678043" cy="421120"/>
            <a:chOff x="782740" y="1493189"/>
            <a:chExt cx="1678043" cy="713960"/>
          </a:xfrm>
        </p:grpSpPr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28C2269A-EBAA-D723-E510-F809C24932AF}"/>
                </a:ext>
              </a:extLst>
            </p:cNvPr>
            <p:cNvSpPr/>
            <p:nvPr/>
          </p:nvSpPr>
          <p:spPr>
            <a:xfrm>
              <a:off x="782740" y="1493189"/>
              <a:ext cx="1678043" cy="713960"/>
            </a:xfrm>
            <a:prstGeom prst="rect">
              <a:avLst/>
            </a:prstGeom>
            <a:solidFill>
              <a:srgbClr val="002855">
                <a:lumMod val="10000"/>
                <a:lumOff val="90000"/>
              </a:srgb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CuadroTexto 29">
              <a:extLst>
                <a:ext uri="{FF2B5EF4-FFF2-40B4-BE49-F238E27FC236}">
                  <a16:creationId xmlns:a16="http://schemas.microsoft.com/office/drawing/2014/main" id="{E49C7256-54A3-4FF0-63FA-FA913899BA1D}"/>
                </a:ext>
              </a:extLst>
            </p:cNvPr>
            <p:cNvSpPr txBox="1"/>
            <p:nvPr/>
          </p:nvSpPr>
          <p:spPr>
            <a:xfrm>
              <a:off x="812292" y="1538830"/>
              <a:ext cx="1618938" cy="3606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0" cap="none" spc="0" normalizeH="0" baseline="0" noProof="0">
                  <a:ln>
                    <a:noFill/>
                  </a:ln>
                  <a:solidFill>
                    <a:srgbClr val="6F6F6F">
                      <a:lumMod val="50000"/>
                    </a:srgbClr>
                  </a:solidFill>
                  <a:effectLst/>
                  <a:uLnTx/>
                  <a:uFillTx/>
                </a:rPr>
                <a:t>Estudio Fase III</a:t>
              </a:r>
              <a:endParaRPr kumimoji="0" lang="es-ES" sz="1600" b="0" i="0" u="none" strike="noStrike" kern="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2" name="Grupo 31">
            <a:extLst>
              <a:ext uri="{FF2B5EF4-FFF2-40B4-BE49-F238E27FC236}">
                <a16:creationId xmlns:a16="http://schemas.microsoft.com/office/drawing/2014/main" id="{D45CF253-5ACD-3048-430B-B07172A73BA3}"/>
              </a:ext>
            </a:extLst>
          </p:cNvPr>
          <p:cNvGrpSpPr/>
          <p:nvPr/>
        </p:nvGrpSpPr>
        <p:grpSpPr>
          <a:xfrm>
            <a:off x="2217514" y="1469726"/>
            <a:ext cx="7131691" cy="744000"/>
            <a:chOff x="1999521" y="1378294"/>
            <a:chExt cx="7131691" cy="744000"/>
          </a:xfrm>
        </p:grpSpPr>
        <p:sp>
          <p:nvSpPr>
            <p:cNvPr id="18" name="Marcador de texto 1">
              <a:extLst>
                <a:ext uri="{FF2B5EF4-FFF2-40B4-BE49-F238E27FC236}">
                  <a16:creationId xmlns:a16="http://schemas.microsoft.com/office/drawing/2014/main" id="{05C0755A-080B-0566-6EAE-8E63FC08B711}"/>
                </a:ext>
              </a:extLst>
            </p:cNvPr>
            <p:cNvSpPr txBox="1">
              <a:spLocks/>
            </p:cNvSpPr>
            <p:nvPr/>
          </p:nvSpPr>
          <p:spPr>
            <a:xfrm>
              <a:off x="2115700" y="1458372"/>
              <a:ext cx="7004626" cy="584505"/>
            </a:xfrm>
            <a:prstGeom prst="rect">
              <a:avLst/>
            </a:prstGeom>
          </p:spPr>
          <p:txBody>
            <a:bodyPr anchor="ctr"/>
            <a:lstStyle>
              <a:lvl1pPr marL="0" marR="0" indent="0" algn="l" defTabSz="914377" rtl="0" eaLnBrk="1" fontAlgn="auto" latinLnBrk="0" hangingPunct="1">
                <a:lnSpc>
                  <a:spcPts val="24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200" b="1" kern="1200">
                  <a:solidFill>
                    <a:srgbClr val="E63D42"/>
                  </a:solidFill>
                  <a:latin typeface="+mn-lt"/>
                  <a:ea typeface="+mn-ea"/>
                  <a:cs typeface="+mn-cs"/>
                </a:defRPr>
              </a:lvl1pPr>
              <a:lvl2pPr marL="457189" indent="0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200" kern="1200">
                  <a:solidFill>
                    <a:srgbClr val="002855"/>
                  </a:solidFill>
                  <a:latin typeface="+mn-lt"/>
                  <a:ea typeface="+mn-ea"/>
                  <a:cs typeface="+mn-cs"/>
                </a:defRPr>
              </a:lvl2pPr>
              <a:lvl3pPr marL="914377" indent="0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200" kern="1200">
                  <a:solidFill>
                    <a:srgbClr val="002855"/>
                  </a:solidFill>
                  <a:latin typeface="+mn-lt"/>
                  <a:ea typeface="+mn-ea"/>
                  <a:cs typeface="+mn-cs"/>
                </a:defRPr>
              </a:lvl3pPr>
              <a:lvl4pPr marL="1371566" indent="0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200" kern="1200">
                  <a:solidFill>
                    <a:srgbClr val="002855"/>
                  </a:solidFill>
                  <a:latin typeface="+mn-lt"/>
                  <a:ea typeface="+mn-ea"/>
                  <a:cs typeface="+mn-cs"/>
                </a:defRPr>
              </a:lvl4pPr>
              <a:lvl5pPr marL="1828754" indent="0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200" kern="1200">
                  <a:solidFill>
                    <a:srgbClr val="002855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4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ES_tradnl" sz="14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as tasas de aclaramiento completo con </a:t>
              </a:r>
              <a:r>
                <a:rPr kumimoji="0" lang="es-ES_tradnl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rbanibulina</a:t>
              </a:r>
              <a:r>
                <a:rPr kumimoji="0" lang="es-ES_tradnl" sz="14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l 1% no se correlacionan con la severidad de las </a:t>
              </a:r>
              <a:r>
                <a:rPr kumimoji="0" lang="es-ES" sz="1400" b="1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cciones cutáneas locales</a:t>
              </a:r>
              <a:r>
                <a:rPr kumimoji="0" lang="es-ES_tradnl" sz="14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31" name="Rectángulo: esquinas redondeadas 30">
              <a:extLst>
                <a:ext uri="{FF2B5EF4-FFF2-40B4-BE49-F238E27FC236}">
                  <a16:creationId xmlns:a16="http://schemas.microsoft.com/office/drawing/2014/main" id="{BAD0C94D-74B6-897C-7C5F-0F7EBFD32456}"/>
                </a:ext>
              </a:extLst>
            </p:cNvPr>
            <p:cNvSpPr/>
            <p:nvPr/>
          </p:nvSpPr>
          <p:spPr>
            <a:xfrm>
              <a:off x="1999521" y="1378294"/>
              <a:ext cx="7131691" cy="744000"/>
            </a:xfrm>
            <a:prstGeom prst="roundRect">
              <a:avLst/>
            </a:prstGeom>
            <a:no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207401416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uadroTexto 12">
            <a:extLst>
              <a:ext uri="{FF2B5EF4-FFF2-40B4-BE49-F238E27FC236}">
                <a16:creationId xmlns:a16="http://schemas.microsoft.com/office/drawing/2014/main" id="{B17F678A-BC28-60E5-84FB-DAD6CCCF5EBA}"/>
              </a:ext>
            </a:extLst>
          </p:cNvPr>
          <p:cNvSpPr txBox="1"/>
          <p:nvPr/>
        </p:nvSpPr>
        <p:spPr>
          <a:xfrm>
            <a:off x="361082" y="157309"/>
            <a:ext cx="8140661" cy="938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lnSpc>
                <a:spcPct val="110000"/>
              </a:lnSpc>
              <a:spcAft>
                <a:spcPts val="1800"/>
              </a:spcAft>
              <a:buSzPct val="90000"/>
              <a:defRPr/>
            </a:pPr>
            <a:r>
              <a:rPr lang="es-ES" sz="2600" b="1">
                <a:solidFill>
                  <a:srgbClr val="E93C3D"/>
                </a:solidFill>
                <a:cs typeface="Arial" panose="020B0604020202020204" pitchFamily="34" charset="0"/>
              </a:rPr>
              <a:t>¿Considera que la posología de </a:t>
            </a:r>
            <a:r>
              <a:rPr lang="es-ES" sz="2600" b="1" err="1">
                <a:solidFill>
                  <a:srgbClr val="E93C3D"/>
                </a:solidFill>
                <a:cs typeface="Arial" panose="020B0604020202020204" pitchFamily="34" charset="0"/>
              </a:rPr>
              <a:t>tirbanibulina</a:t>
            </a:r>
            <a:r>
              <a:rPr lang="es-ES" sz="2600" b="1">
                <a:solidFill>
                  <a:srgbClr val="E93C3D"/>
                </a:solidFill>
                <a:cs typeface="Arial" panose="020B0604020202020204" pitchFamily="34" charset="0"/>
              </a:rPr>
              <a:t> (de sólo 5 días) es conveniente para el paciente?</a:t>
            </a:r>
          </a:p>
        </p:txBody>
      </p:sp>
      <p:grpSp>
        <p:nvGrpSpPr>
          <p:cNvPr id="378" name="Grupo 377">
            <a:extLst>
              <a:ext uri="{FF2B5EF4-FFF2-40B4-BE49-F238E27FC236}">
                <a16:creationId xmlns:a16="http://schemas.microsoft.com/office/drawing/2014/main" id="{E8C2B193-3B7F-258A-F759-B51D85FB099C}"/>
              </a:ext>
            </a:extLst>
          </p:cNvPr>
          <p:cNvGrpSpPr/>
          <p:nvPr/>
        </p:nvGrpSpPr>
        <p:grpSpPr>
          <a:xfrm>
            <a:off x="1510085" y="1670869"/>
            <a:ext cx="10116535" cy="4184695"/>
            <a:chOff x="341434" y="1370225"/>
            <a:chExt cx="7587401" cy="3138521"/>
          </a:xfrm>
        </p:grpSpPr>
        <p:pic>
          <p:nvPicPr>
            <p:cNvPr id="379" name="Imagen 378">
              <a:extLst>
                <a:ext uri="{FF2B5EF4-FFF2-40B4-BE49-F238E27FC236}">
                  <a16:creationId xmlns:a16="http://schemas.microsoft.com/office/drawing/2014/main" id="{C123B9FC-A3EB-034D-AA56-8EEB7F18E9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5279" y="3999191"/>
              <a:ext cx="540363" cy="344552"/>
            </a:xfrm>
            <a:prstGeom prst="rect">
              <a:avLst/>
            </a:prstGeom>
          </p:spPr>
        </p:pic>
        <p:pic>
          <p:nvPicPr>
            <p:cNvPr id="380" name="Imagen 379">
              <a:extLst>
                <a:ext uri="{FF2B5EF4-FFF2-40B4-BE49-F238E27FC236}">
                  <a16:creationId xmlns:a16="http://schemas.microsoft.com/office/drawing/2014/main" id="{DAD061DC-35E7-B539-485E-675139C787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3740" y="4001989"/>
              <a:ext cx="540363" cy="344552"/>
            </a:xfrm>
            <a:prstGeom prst="rect">
              <a:avLst/>
            </a:prstGeom>
          </p:spPr>
        </p:pic>
        <p:pic>
          <p:nvPicPr>
            <p:cNvPr id="381" name="Imagen 380">
              <a:extLst>
                <a:ext uri="{FF2B5EF4-FFF2-40B4-BE49-F238E27FC236}">
                  <a16:creationId xmlns:a16="http://schemas.microsoft.com/office/drawing/2014/main" id="{8EA8CED3-13CC-F9C4-9328-CE4A20E48A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2201" y="4001989"/>
              <a:ext cx="540363" cy="344552"/>
            </a:xfrm>
            <a:prstGeom prst="rect">
              <a:avLst/>
            </a:prstGeom>
          </p:spPr>
        </p:pic>
        <p:pic>
          <p:nvPicPr>
            <p:cNvPr id="382" name="Imagen 381">
              <a:extLst>
                <a:ext uri="{FF2B5EF4-FFF2-40B4-BE49-F238E27FC236}">
                  <a16:creationId xmlns:a16="http://schemas.microsoft.com/office/drawing/2014/main" id="{9E94A2B5-7500-747C-C8AF-304A52F4AA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90662" y="4003292"/>
              <a:ext cx="540363" cy="344552"/>
            </a:xfrm>
            <a:prstGeom prst="rect">
              <a:avLst/>
            </a:prstGeom>
          </p:spPr>
        </p:pic>
        <p:pic>
          <p:nvPicPr>
            <p:cNvPr id="383" name="Imagen 382">
              <a:extLst>
                <a:ext uri="{FF2B5EF4-FFF2-40B4-BE49-F238E27FC236}">
                  <a16:creationId xmlns:a16="http://schemas.microsoft.com/office/drawing/2014/main" id="{FAE1A59D-6014-FD48-C74F-5EDE4794F5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539123" y="4003292"/>
              <a:ext cx="540363" cy="344552"/>
            </a:xfrm>
            <a:prstGeom prst="rect">
              <a:avLst/>
            </a:prstGeom>
          </p:spPr>
        </p:pic>
        <p:pic>
          <p:nvPicPr>
            <p:cNvPr id="384" name="Imagen 383">
              <a:extLst>
                <a:ext uri="{FF2B5EF4-FFF2-40B4-BE49-F238E27FC236}">
                  <a16:creationId xmlns:a16="http://schemas.microsoft.com/office/drawing/2014/main" id="{5EFEDA45-42DB-ADF7-7400-6C32424465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587584" y="4003292"/>
              <a:ext cx="540363" cy="344552"/>
            </a:xfrm>
            <a:prstGeom prst="rect">
              <a:avLst/>
            </a:prstGeom>
          </p:spPr>
        </p:pic>
        <p:pic>
          <p:nvPicPr>
            <p:cNvPr id="385" name="Imagen 384">
              <a:extLst>
                <a:ext uri="{FF2B5EF4-FFF2-40B4-BE49-F238E27FC236}">
                  <a16:creationId xmlns:a16="http://schemas.microsoft.com/office/drawing/2014/main" id="{68785E82-3F17-B421-1DEC-DB821837B2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636045" y="4001989"/>
              <a:ext cx="540363" cy="344552"/>
            </a:xfrm>
            <a:prstGeom prst="rect">
              <a:avLst/>
            </a:prstGeom>
          </p:spPr>
        </p:pic>
        <p:pic>
          <p:nvPicPr>
            <p:cNvPr id="386" name="Imagen 385">
              <a:extLst>
                <a:ext uri="{FF2B5EF4-FFF2-40B4-BE49-F238E27FC236}">
                  <a16:creationId xmlns:a16="http://schemas.microsoft.com/office/drawing/2014/main" id="{3ECEEC20-EAE8-116F-62E8-B40D3C061B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684506" y="4001989"/>
              <a:ext cx="540363" cy="344552"/>
            </a:xfrm>
            <a:prstGeom prst="rect">
              <a:avLst/>
            </a:prstGeom>
          </p:spPr>
        </p:pic>
        <p:pic>
          <p:nvPicPr>
            <p:cNvPr id="387" name="Imagen 386">
              <a:extLst>
                <a:ext uri="{FF2B5EF4-FFF2-40B4-BE49-F238E27FC236}">
                  <a16:creationId xmlns:a16="http://schemas.microsoft.com/office/drawing/2014/main" id="{3C5D7EB7-B782-EED1-FDAA-BF53878532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732967" y="4001989"/>
              <a:ext cx="540363" cy="344552"/>
            </a:xfrm>
            <a:prstGeom prst="rect">
              <a:avLst/>
            </a:prstGeom>
          </p:spPr>
        </p:pic>
        <p:pic>
          <p:nvPicPr>
            <p:cNvPr id="388" name="Imagen 387">
              <a:extLst>
                <a:ext uri="{FF2B5EF4-FFF2-40B4-BE49-F238E27FC236}">
                  <a16:creationId xmlns:a16="http://schemas.microsoft.com/office/drawing/2014/main" id="{589F8B23-E72B-D003-94C2-D9A0300CCB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781428" y="4003292"/>
              <a:ext cx="540363" cy="344552"/>
            </a:xfrm>
            <a:prstGeom prst="rect">
              <a:avLst/>
            </a:prstGeom>
          </p:spPr>
        </p:pic>
        <p:pic>
          <p:nvPicPr>
            <p:cNvPr id="389" name="Imagen 388">
              <a:extLst>
                <a:ext uri="{FF2B5EF4-FFF2-40B4-BE49-F238E27FC236}">
                  <a16:creationId xmlns:a16="http://schemas.microsoft.com/office/drawing/2014/main" id="{AB31543D-A5BC-147E-3982-0EAA549388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829889" y="4003292"/>
              <a:ext cx="540363" cy="344552"/>
            </a:xfrm>
            <a:prstGeom prst="rect">
              <a:avLst/>
            </a:prstGeom>
          </p:spPr>
        </p:pic>
        <p:pic>
          <p:nvPicPr>
            <p:cNvPr id="390" name="Imagen 389">
              <a:extLst>
                <a:ext uri="{FF2B5EF4-FFF2-40B4-BE49-F238E27FC236}">
                  <a16:creationId xmlns:a16="http://schemas.microsoft.com/office/drawing/2014/main" id="{CCCE8E41-30D9-8460-F216-7461F7DCB5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878350" y="4003292"/>
              <a:ext cx="540363" cy="344552"/>
            </a:xfrm>
            <a:prstGeom prst="rect">
              <a:avLst/>
            </a:prstGeom>
          </p:spPr>
        </p:pic>
        <p:pic>
          <p:nvPicPr>
            <p:cNvPr id="391" name="Imagen 390">
              <a:extLst>
                <a:ext uri="{FF2B5EF4-FFF2-40B4-BE49-F238E27FC236}">
                  <a16:creationId xmlns:a16="http://schemas.microsoft.com/office/drawing/2014/main" id="{C5CAB14F-8D1D-3771-424B-07757B4F96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926811" y="4001989"/>
              <a:ext cx="540363" cy="344552"/>
            </a:xfrm>
            <a:prstGeom prst="rect">
              <a:avLst/>
            </a:prstGeom>
          </p:spPr>
        </p:pic>
        <p:pic>
          <p:nvPicPr>
            <p:cNvPr id="392" name="Imagen 391">
              <a:extLst>
                <a:ext uri="{FF2B5EF4-FFF2-40B4-BE49-F238E27FC236}">
                  <a16:creationId xmlns:a16="http://schemas.microsoft.com/office/drawing/2014/main" id="{B20BFD81-A576-3900-33D6-1D72AC7D0B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975272" y="4001989"/>
              <a:ext cx="540363" cy="344552"/>
            </a:xfrm>
            <a:prstGeom prst="rect">
              <a:avLst/>
            </a:prstGeom>
          </p:spPr>
        </p:pic>
        <p:pic>
          <p:nvPicPr>
            <p:cNvPr id="393" name="Imagen 392">
              <a:extLst>
                <a:ext uri="{FF2B5EF4-FFF2-40B4-BE49-F238E27FC236}">
                  <a16:creationId xmlns:a16="http://schemas.microsoft.com/office/drawing/2014/main" id="{92EF2988-F751-1326-04DE-76C2730F9F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023733" y="4001989"/>
              <a:ext cx="540363" cy="344552"/>
            </a:xfrm>
            <a:prstGeom prst="rect">
              <a:avLst/>
            </a:prstGeom>
          </p:spPr>
        </p:pic>
        <p:pic>
          <p:nvPicPr>
            <p:cNvPr id="394" name="Imagen 393">
              <a:extLst>
                <a:ext uri="{FF2B5EF4-FFF2-40B4-BE49-F238E27FC236}">
                  <a16:creationId xmlns:a16="http://schemas.microsoft.com/office/drawing/2014/main" id="{456C2387-0809-CE2E-874C-4FA79DDE4C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072194" y="4003292"/>
              <a:ext cx="540363" cy="344552"/>
            </a:xfrm>
            <a:prstGeom prst="rect">
              <a:avLst/>
            </a:prstGeom>
          </p:spPr>
        </p:pic>
        <p:pic>
          <p:nvPicPr>
            <p:cNvPr id="395" name="Imagen 394">
              <a:extLst>
                <a:ext uri="{FF2B5EF4-FFF2-40B4-BE49-F238E27FC236}">
                  <a16:creationId xmlns:a16="http://schemas.microsoft.com/office/drawing/2014/main" id="{7DA35A0E-A21D-796F-41C9-0167D73098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120655" y="4003292"/>
              <a:ext cx="540363" cy="344552"/>
            </a:xfrm>
            <a:prstGeom prst="rect">
              <a:avLst/>
            </a:prstGeom>
          </p:spPr>
        </p:pic>
        <p:pic>
          <p:nvPicPr>
            <p:cNvPr id="396" name="Imagen 395">
              <a:extLst>
                <a:ext uri="{FF2B5EF4-FFF2-40B4-BE49-F238E27FC236}">
                  <a16:creationId xmlns:a16="http://schemas.microsoft.com/office/drawing/2014/main" id="{4AB343D1-8FBF-5369-C9DE-A5AFAAFEE6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169116" y="4003292"/>
              <a:ext cx="540363" cy="344552"/>
            </a:xfrm>
            <a:prstGeom prst="rect">
              <a:avLst/>
            </a:prstGeom>
          </p:spPr>
        </p:pic>
        <p:pic>
          <p:nvPicPr>
            <p:cNvPr id="397" name="Imagen 396">
              <a:extLst>
                <a:ext uri="{FF2B5EF4-FFF2-40B4-BE49-F238E27FC236}">
                  <a16:creationId xmlns:a16="http://schemas.microsoft.com/office/drawing/2014/main" id="{97E4E86D-189D-E485-A33D-10F45BCE12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217577" y="4001989"/>
              <a:ext cx="540363" cy="344552"/>
            </a:xfrm>
            <a:prstGeom prst="rect">
              <a:avLst/>
            </a:prstGeom>
          </p:spPr>
        </p:pic>
        <p:pic>
          <p:nvPicPr>
            <p:cNvPr id="398" name="Imagen 397">
              <a:extLst>
                <a:ext uri="{FF2B5EF4-FFF2-40B4-BE49-F238E27FC236}">
                  <a16:creationId xmlns:a16="http://schemas.microsoft.com/office/drawing/2014/main" id="{8409D416-41C2-2364-A6BF-F0654404F2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266038" y="4001989"/>
              <a:ext cx="540363" cy="344552"/>
            </a:xfrm>
            <a:prstGeom prst="rect">
              <a:avLst/>
            </a:prstGeom>
          </p:spPr>
        </p:pic>
        <p:pic>
          <p:nvPicPr>
            <p:cNvPr id="399" name="Imagen 398">
              <a:extLst>
                <a:ext uri="{FF2B5EF4-FFF2-40B4-BE49-F238E27FC236}">
                  <a16:creationId xmlns:a16="http://schemas.microsoft.com/office/drawing/2014/main" id="{12D09243-9842-D16A-4E6A-69810827FA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314499" y="4001989"/>
              <a:ext cx="540363" cy="344552"/>
            </a:xfrm>
            <a:prstGeom prst="rect">
              <a:avLst/>
            </a:prstGeom>
          </p:spPr>
        </p:pic>
        <p:pic>
          <p:nvPicPr>
            <p:cNvPr id="400" name="Imagen 399">
              <a:extLst>
                <a:ext uri="{FF2B5EF4-FFF2-40B4-BE49-F238E27FC236}">
                  <a16:creationId xmlns:a16="http://schemas.microsoft.com/office/drawing/2014/main" id="{F955E20C-9D3E-CABE-EE41-FB7B1C8C59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362960" y="4003292"/>
              <a:ext cx="540363" cy="344552"/>
            </a:xfrm>
            <a:prstGeom prst="rect">
              <a:avLst/>
            </a:prstGeom>
          </p:spPr>
        </p:pic>
        <p:pic>
          <p:nvPicPr>
            <p:cNvPr id="401" name="Imagen 400">
              <a:extLst>
                <a:ext uri="{FF2B5EF4-FFF2-40B4-BE49-F238E27FC236}">
                  <a16:creationId xmlns:a16="http://schemas.microsoft.com/office/drawing/2014/main" id="{8776128D-2958-4A7F-C752-8E42F7F32E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411421" y="4003292"/>
              <a:ext cx="540363" cy="344552"/>
            </a:xfrm>
            <a:prstGeom prst="rect">
              <a:avLst/>
            </a:prstGeom>
          </p:spPr>
        </p:pic>
        <p:pic>
          <p:nvPicPr>
            <p:cNvPr id="402" name="Imagen 401">
              <a:extLst>
                <a:ext uri="{FF2B5EF4-FFF2-40B4-BE49-F238E27FC236}">
                  <a16:creationId xmlns:a16="http://schemas.microsoft.com/office/drawing/2014/main" id="{AD7881FA-D51E-EA4E-745A-3F526505E2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459882" y="4003292"/>
              <a:ext cx="540363" cy="344552"/>
            </a:xfrm>
            <a:prstGeom prst="rect">
              <a:avLst/>
            </a:prstGeom>
          </p:spPr>
        </p:pic>
        <p:pic>
          <p:nvPicPr>
            <p:cNvPr id="403" name="Imagen 402">
              <a:extLst>
                <a:ext uri="{FF2B5EF4-FFF2-40B4-BE49-F238E27FC236}">
                  <a16:creationId xmlns:a16="http://schemas.microsoft.com/office/drawing/2014/main" id="{BB08C619-806F-36A0-442A-606598F043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08343" y="4005684"/>
              <a:ext cx="540363" cy="344552"/>
            </a:xfrm>
            <a:prstGeom prst="rect">
              <a:avLst/>
            </a:prstGeom>
          </p:spPr>
        </p:pic>
        <p:pic>
          <p:nvPicPr>
            <p:cNvPr id="404" name="Imagen 403">
              <a:extLst>
                <a:ext uri="{FF2B5EF4-FFF2-40B4-BE49-F238E27FC236}">
                  <a16:creationId xmlns:a16="http://schemas.microsoft.com/office/drawing/2014/main" id="{9DA92D88-45A5-DB8F-A584-508737D387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56804" y="4005684"/>
              <a:ext cx="540363" cy="344552"/>
            </a:xfrm>
            <a:prstGeom prst="rect">
              <a:avLst/>
            </a:prstGeom>
          </p:spPr>
        </p:pic>
        <p:pic>
          <p:nvPicPr>
            <p:cNvPr id="405" name="Imagen 404">
              <a:extLst>
                <a:ext uri="{FF2B5EF4-FFF2-40B4-BE49-F238E27FC236}">
                  <a16:creationId xmlns:a16="http://schemas.microsoft.com/office/drawing/2014/main" id="{35345904-A475-5FE4-2195-D901B982C2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605265" y="4005684"/>
              <a:ext cx="540363" cy="344552"/>
            </a:xfrm>
            <a:prstGeom prst="rect">
              <a:avLst/>
            </a:prstGeom>
          </p:spPr>
        </p:pic>
        <p:pic>
          <p:nvPicPr>
            <p:cNvPr id="406" name="Imagen 405">
              <a:extLst>
                <a:ext uri="{FF2B5EF4-FFF2-40B4-BE49-F238E27FC236}">
                  <a16:creationId xmlns:a16="http://schemas.microsoft.com/office/drawing/2014/main" id="{AF654908-1FD0-DF1F-D0A5-9B5B5C2732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653726" y="4006987"/>
              <a:ext cx="540363" cy="344552"/>
            </a:xfrm>
            <a:prstGeom prst="rect">
              <a:avLst/>
            </a:prstGeom>
          </p:spPr>
        </p:pic>
        <p:pic>
          <p:nvPicPr>
            <p:cNvPr id="407" name="Imagen 406">
              <a:extLst>
                <a:ext uri="{FF2B5EF4-FFF2-40B4-BE49-F238E27FC236}">
                  <a16:creationId xmlns:a16="http://schemas.microsoft.com/office/drawing/2014/main" id="{89DD6DAC-31BB-A719-F795-EB46EEABD3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02187" y="4006987"/>
              <a:ext cx="540363" cy="344552"/>
            </a:xfrm>
            <a:prstGeom prst="rect">
              <a:avLst/>
            </a:prstGeom>
          </p:spPr>
        </p:pic>
        <p:pic>
          <p:nvPicPr>
            <p:cNvPr id="408" name="Imagen 407">
              <a:extLst>
                <a:ext uri="{FF2B5EF4-FFF2-40B4-BE49-F238E27FC236}">
                  <a16:creationId xmlns:a16="http://schemas.microsoft.com/office/drawing/2014/main" id="{5F69B55E-8F16-15FC-B6E1-123E194498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50648" y="4006987"/>
              <a:ext cx="540363" cy="344552"/>
            </a:xfrm>
            <a:prstGeom prst="rect">
              <a:avLst/>
            </a:prstGeom>
          </p:spPr>
        </p:pic>
        <p:pic>
          <p:nvPicPr>
            <p:cNvPr id="409" name="Imagen 408">
              <a:extLst>
                <a:ext uri="{FF2B5EF4-FFF2-40B4-BE49-F238E27FC236}">
                  <a16:creationId xmlns:a16="http://schemas.microsoft.com/office/drawing/2014/main" id="{ADA03F46-CB17-4DC2-EF5A-1E81C3F858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99109" y="4005684"/>
              <a:ext cx="540363" cy="344552"/>
            </a:xfrm>
            <a:prstGeom prst="rect">
              <a:avLst/>
            </a:prstGeom>
          </p:spPr>
        </p:pic>
        <p:pic>
          <p:nvPicPr>
            <p:cNvPr id="410" name="Imagen 409">
              <a:extLst>
                <a:ext uri="{FF2B5EF4-FFF2-40B4-BE49-F238E27FC236}">
                  <a16:creationId xmlns:a16="http://schemas.microsoft.com/office/drawing/2014/main" id="{A50D8C66-291F-FDEA-D0F3-F10AE8C9B2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847570" y="4005684"/>
              <a:ext cx="540363" cy="344552"/>
            </a:xfrm>
            <a:prstGeom prst="rect">
              <a:avLst/>
            </a:prstGeom>
          </p:spPr>
        </p:pic>
        <p:pic>
          <p:nvPicPr>
            <p:cNvPr id="411" name="Imagen 410">
              <a:extLst>
                <a:ext uri="{FF2B5EF4-FFF2-40B4-BE49-F238E27FC236}">
                  <a16:creationId xmlns:a16="http://schemas.microsoft.com/office/drawing/2014/main" id="{19274A36-291D-77CB-2DD1-70ACA8C37E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896031" y="4005684"/>
              <a:ext cx="540363" cy="344552"/>
            </a:xfrm>
            <a:prstGeom prst="rect">
              <a:avLst/>
            </a:prstGeom>
          </p:spPr>
        </p:pic>
        <p:pic>
          <p:nvPicPr>
            <p:cNvPr id="412" name="Imagen 411">
              <a:extLst>
                <a:ext uri="{FF2B5EF4-FFF2-40B4-BE49-F238E27FC236}">
                  <a16:creationId xmlns:a16="http://schemas.microsoft.com/office/drawing/2014/main" id="{9C5EBC78-65E8-B046-E0DD-FA8DE2DD42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944492" y="4006987"/>
              <a:ext cx="540363" cy="344552"/>
            </a:xfrm>
            <a:prstGeom prst="rect">
              <a:avLst/>
            </a:prstGeom>
          </p:spPr>
        </p:pic>
        <p:pic>
          <p:nvPicPr>
            <p:cNvPr id="413" name="Imagen 412">
              <a:extLst>
                <a:ext uri="{FF2B5EF4-FFF2-40B4-BE49-F238E27FC236}">
                  <a16:creationId xmlns:a16="http://schemas.microsoft.com/office/drawing/2014/main" id="{1B914B64-63A7-0B86-C36A-EC41F7B3D4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992953" y="4006987"/>
              <a:ext cx="540363" cy="344552"/>
            </a:xfrm>
            <a:prstGeom prst="rect">
              <a:avLst/>
            </a:prstGeom>
          </p:spPr>
        </p:pic>
        <p:pic>
          <p:nvPicPr>
            <p:cNvPr id="414" name="Imagen 413">
              <a:extLst>
                <a:ext uri="{FF2B5EF4-FFF2-40B4-BE49-F238E27FC236}">
                  <a16:creationId xmlns:a16="http://schemas.microsoft.com/office/drawing/2014/main" id="{6F34DEEB-4A86-4E60-07D3-9C26008086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041414" y="4006987"/>
              <a:ext cx="540363" cy="344552"/>
            </a:xfrm>
            <a:prstGeom prst="rect">
              <a:avLst/>
            </a:prstGeom>
          </p:spPr>
        </p:pic>
        <p:pic>
          <p:nvPicPr>
            <p:cNvPr id="415" name="Imagen 414">
              <a:extLst>
                <a:ext uri="{FF2B5EF4-FFF2-40B4-BE49-F238E27FC236}">
                  <a16:creationId xmlns:a16="http://schemas.microsoft.com/office/drawing/2014/main" id="{5A0AF34C-D374-87E7-0762-4AEDD1D184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089875" y="4006987"/>
              <a:ext cx="540363" cy="344552"/>
            </a:xfrm>
            <a:prstGeom prst="rect">
              <a:avLst/>
            </a:prstGeom>
          </p:spPr>
        </p:pic>
        <p:pic>
          <p:nvPicPr>
            <p:cNvPr id="416" name="Imagen 415">
              <a:extLst>
                <a:ext uri="{FF2B5EF4-FFF2-40B4-BE49-F238E27FC236}">
                  <a16:creationId xmlns:a16="http://schemas.microsoft.com/office/drawing/2014/main" id="{11D3FE23-35E9-A06E-096E-B3D858DD35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138336" y="4006987"/>
              <a:ext cx="540363" cy="344552"/>
            </a:xfrm>
            <a:prstGeom prst="rect">
              <a:avLst/>
            </a:prstGeom>
          </p:spPr>
        </p:pic>
        <p:pic>
          <p:nvPicPr>
            <p:cNvPr id="417" name="Imagen 416">
              <a:extLst>
                <a:ext uri="{FF2B5EF4-FFF2-40B4-BE49-F238E27FC236}">
                  <a16:creationId xmlns:a16="http://schemas.microsoft.com/office/drawing/2014/main" id="{542F2873-D7D2-33B5-2812-0C2E14E9D0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186797" y="4006987"/>
              <a:ext cx="540363" cy="344552"/>
            </a:xfrm>
            <a:prstGeom prst="rect">
              <a:avLst/>
            </a:prstGeom>
          </p:spPr>
        </p:pic>
        <p:pic>
          <p:nvPicPr>
            <p:cNvPr id="418" name="Imagen 417">
              <a:extLst>
                <a:ext uri="{FF2B5EF4-FFF2-40B4-BE49-F238E27FC236}">
                  <a16:creationId xmlns:a16="http://schemas.microsoft.com/office/drawing/2014/main" id="{74F2D26F-F15B-CA65-A82F-EBBEBAF651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235258" y="4008291"/>
              <a:ext cx="540363" cy="344552"/>
            </a:xfrm>
            <a:prstGeom prst="rect">
              <a:avLst/>
            </a:prstGeom>
          </p:spPr>
        </p:pic>
        <p:pic>
          <p:nvPicPr>
            <p:cNvPr id="419" name="Imagen 418">
              <a:extLst>
                <a:ext uri="{FF2B5EF4-FFF2-40B4-BE49-F238E27FC236}">
                  <a16:creationId xmlns:a16="http://schemas.microsoft.com/office/drawing/2014/main" id="{AA8E4090-28FE-ED62-39E8-E99EE7BACB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283719" y="4008291"/>
              <a:ext cx="540363" cy="344552"/>
            </a:xfrm>
            <a:prstGeom prst="rect">
              <a:avLst/>
            </a:prstGeom>
          </p:spPr>
        </p:pic>
        <p:pic>
          <p:nvPicPr>
            <p:cNvPr id="420" name="Imagen 419">
              <a:extLst>
                <a:ext uri="{FF2B5EF4-FFF2-40B4-BE49-F238E27FC236}">
                  <a16:creationId xmlns:a16="http://schemas.microsoft.com/office/drawing/2014/main" id="{1DBF9252-2E98-635F-CFD1-16F0F70C19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32180" y="4008291"/>
              <a:ext cx="540363" cy="344552"/>
            </a:xfrm>
            <a:prstGeom prst="rect">
              <a:avLst/>
            </a:prstGeom>
          </p:spPr>
        </p:pic>
        <p:pic>
          <p:nvPicPr>
            <p:cNvPr id="421" name="Imagen 420">
              <a:extLst>
                <a:ext uri="{FF2B5EF4-FFF2-40B4-BE49-F238E27FC236}">
                  <a16:creationId xmlns:a16="http://schemas.microsoft.com/office/drawing/2014/main" id="{E6AC9744-F029-D6FA-8C11-A201717155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80641" y="4006987"/>
              <a:ext cx="540363" cy="344552"/>
            </a:xfrm>
            <a:prstGeom prst="rect">
              <a:avLst/>
            </a:prstGeom>
          </p:spPr>
        </p:pic>
        <p:pic>
          <p:nvPicPr>
            <p:cNvPr id="422" name="Imagen 421">
              <a:extLst>
                <a:ext uri="{FF2B5EF4-FFF2-40B4-BE49-F238E27FC236}">
                  <a16:creationId xmlns:a16="http://schemas.microsoft.com/office/drawing/2014/main" id="{63214A53-2C8A-0A14-6C9F-F411A7F5D8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29102" y="4006987"/>
              <a:ext cx="540363" cy="344552"/>
            </a:xfrm>
            <a:prstGeom prst="rect">
              <a:avLst/>
            </a:prstGeom>
          </p:spPr>
        </p:pic>
        <p:pic>
          <p:nvPicPr>
            <p:cNvPr id="423" name="Imagen 422">
              <a:extLst>
                <a:ext uri="{FF2B5EF4-FFF2-40B4-BE49-F238E27FC236}">
                  <a16:creationId xmlns:a16="http://schemas.microsoft.com/office/drawing/2014/main" id="{803007CF-0C70-E6EC-2AE1-6547697BBD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77563" y="4006987"/>
              <a:ext cx="540363" cy="344552"/>
            </a:xfrm>
            <a:prstGeom prst="rect">
              <a:avLst/>
            </a:prstGeom>
          </p:spPr>
        </p:pic>
        <p:pic>
          <p:nvPicPr>
            <p:cNvPr id="424" name="Imagen 423">
              <a:extLst>
                <a:ext uri="{FF2B5EF4-FFF2-40B4-BE49-F238E27FC236}">
                  <a16:creationId xmlns:a16="http://schemas.microsoft.com/office/drawing/2014/main" id="{58AF9DD7-EB9B-5224-203A-466645D2DF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26024" y="4008291"/>
              <a:ext cx="540363" cy="344552"/>
            </a:xfrm>
            <a:prstGeom prst="rect">
              <a:avLst/>
            </a:prstGeom>
          </p:spPr>
        </p:pic>
        <p:pic>
          <p:nvPicPr>
            <p:cNvPr id="425" name="Imagen 424">
              <a:extLst>
                <a:ext uri="{FF2B5EF4-FFF2-40B4-BE49-F238E27FC236}">
                  <a16:creationId xmlns:a16="http://schemas.microsoft.com/office/drawing/2014/main" id="{8B6E6276-B87C-C469-3883-A552727346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74485" y="4008291"/>
              <a:ext cx="540363" cy="344552"/>
            </a:xfrm>
            <a:prstGeom prst="rect">
              <a:avLst/>
            </a:prstGeom>
          </p:spPr>
        </p:pic>
        <p:pic>
          <p:nvPicPr>
            <p:cNvPr id="426" name="Imagen 425">
              <a:extLst>
                <a:ext uri="{FF2B5EF4-FFF2-40B4-BE49-F238E27FC236}">
                  <a16:creationId xmlns:a16="http://schemas.microsoft.com/office/drawing/2014/main" id="{27875D09-61AD-9F76-396C-C9AAF1EE6E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22946" y="4008291"/>
              <a:ext cx="540363" cy="344552"/>
            </a:xfrm>
            <a:prstGeom prst="rect">
              <a:avLst/>
            </a:prstGeom>
          </p:spPr>
        </p:pic>
        <p:pic>
          <p:nvPicPr>
            <p:cNvPr id="427" name="Imagen 426">
              <a:extLst>
                <a:ext uri="{FF2B5EF4-FFF2-40B4-BE49-F238E27FC236}">
                  <a16:creationId xmlns:a16="http://schemas.microsoft.com/office/drawing/2014/main" id="{B0A8CE2C-CE82-19A1-4FB1-5D3FBA6DAF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71407" y="4003292"/>
              <a:ext cx="540363" cy="344552"/>
            </a:xfrm>
            <a:prstGeom prst="rect">
              <a:avLst/>
            </a:prstGeom>
          </p:spPr>
        </p:pic>
        <p:pic>
          <p:nvPicPr>
            <p:cNvPr id="428" name="Imagen 427">
              <a:extLst>
                <a:ext uri="{FF2B5EF4-FFF2-40B4-BE49-F238E27FC236}">
                  <a16:creationId xmlns:a16="http://schemas.microsoft.com/office/drawing/2014/main" id="{EE65D78A-2491-DC36-38CA-1CC972418B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19868" y="4003292"/>
              <a:ext cx="540363" cy="344552"/>
            </a:xfrm>
            <a:prstGeom prst="rect">
              <a:avLst/>
            </a:prstGeom>
          </p:spPr>
        </p:pic>
        <p:pic>
          <p:nvPicPr>
            <p:cNvPr id="429" name="Imagen 428">
              <a:extLst>
                <a:ext uri="{FF2B5EF4-FFF2-40B4-BE49-F238E27FC236}">
                  <a16:creationId xmlns:a16="http://schemas.microsoft.com/office/drawing/2014/main" id="{5470D273-BEDE-AD7C-6350-950A06DA36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68329" y="4003292"/>
              <a:ext cx="540363" cy="344552"/>
            </a:xfrm>
            <a:prstGeom prst="rect">
              <a:avLst/>
            </a:prstGeom>
          </p:spPr>
        </p:pic>
        <p:pic>
          <p:nvPicPr>
            <p:cNvPr id="430" name="Imagen 429">
              <a:extLst>
                <a:ext uri="{FF2B5EF4-FFF2-40B4-BE49-F238E27FC236}">
                  <a16:creationId xmlns:a16="http://schemas.microsoft.com/office/drawing/2014/main" id="{7C8E2A05-6374-F6E2-B738-E33C52DB78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16790" y="4004595"/>
              <a:ext cx="540363" cy="344552"/>
            </a:xfrm>
            <a:prstGeom prst="rect">
              <a:avLst/>
            </a:prstGeom>
          </p:spPr>
        </p:pic>
        <p:pic>
          <p:nvPicPr>
            <p:cNvPr id="431" name="Imagen 430">
              <a:extLst>
                <a:ext uri="{FF2B5EF4-FFF2-40B4-BE49-F238E27FC236}">
                  <a16:creationId xmlns:a16="http://schemas.microsoft.com/office/drawing/2014/main" id="{9FB2BE8C-9A19-C2F1-CE40-172D29AD83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65251" y="4004595"/>
              <a:ext cx="540363" cy="344552"/>
            </a:xfrm>
            <a:prstGeom prst="rect">
              <a:avLst/>
            </a:prstGeom>
          </p:spPr>
        </p:pic>
        <p:pic>
          <p:nvPicPr>
            <p:cNvPr id="432" name="Imagen 431">
              <a:extLst>
                <a:ext uri="{FF2B5EF4-FFF2-40B4-BE49-F238E27FC236}">
                  <a16:creationId xmlns:a16="http://schemas.microsoft.com/office/drawing/2014/main" id="{48713327-A4E0-8B06-779A-C72D52E466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13712" y="4004595"/>
              <a:ext cx="540363" cy="344552"/>
            </a:xfrm>
            <a:prstGeom prst="rect">
              <a:avLst/>
            </a:prstGeom>
          </p:spPr>
        </p:pic>
        <p:pic>
          <p:nvPicPr>
            <p:cNvPr id="433" name="Imagen 432">
              <a:extLst>
                <a:ext uri="{FF2B5EF4-FFF2-40B4-BE49-F238E27FC236}">
                  <a16:creationId xmlns:a16="http://schemas.microsoft.com/office/drawing/2014/main" id="{7E989447-9B20-FC0F-8E85-EA012C585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62173" y="4003292"/>
              <a:ext cx="540363" cy="344552"/>
            </a:xfrm>
            <a:prstGeom prst="rect">
              <a:avLst/>
            </a:prstGeom>
          </p:spPr>
        </p:pic>
        <p:pic>
          <p:nvPicPr>
            <p:cNvPr id="434" name="Imagen 433">
              <a:extLst>
                <a:ext uri="{FF2B5EF4-FFF2-40B4-BE49-F238E27FC236}">
                  <a16:creationId xmlns:a16="http://schemas.microsoft.com/office/drawing/2014/main" id="{4BDBFC01-E723-EC4A-9885-8B7CF8FCAA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10634" y="4003292"/>
              <a:ext cx="540363" cy="344552"/>
            </a:xfrm>
            <a:prstGeom prst="rect">
              <a:avLst/>
            </a:prstGeom>
          </p:spPr>
        </p:pic>
        <p:pic>
          <p:nvPicPr>
            <p:cNvPr id="435" name="Imagen 434">
              <a:extLst>
                <a:ext uri="{FF2B5EF4-FFF2-40B4-BE49-F238E27FC236}">
                  <a16:creationId xmlns:a16="http://schemas.microsoft.com/office/drawing/2014/main" id="{2FFD0A81-BCA4-5290-36EE-2ECAEDCD22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59095" y="4003292"/>
              <a:ext cx="540363" cy="344552"/>
            </a:xfrm>
            <a:prstGeom prst="rect">
              <a:avLst/>
            </a:prstGeom>
          </p:spPr>
        </p:pic>
        <p:pic>
          <p:nvPicPr>
            <p:cNvPr id="436" name="Imagen 435">
              <a:extLst>
                <a:ext uri="{FF2B5EF4-FFF2-40B4-BE49-F238E27FC236}">
                  <a16:creationId xmlns:a16="http://schemas.microsoft.com/office/drawing/2014/main" id="{3D13BDC7-6AE3-0C7E-1408-0662D153B9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07556" y="4004595"/>
              <a:ext cx="540363" cy="344552"/>
            </a:xfrm>
            <a:prstGeom prst="rect">
              <a:avLst/>
            </a:prstGeom>
          </p:spPr>
        </p:pic>
        <p:pic>
          <p:nvPicPr>
            <p:cNvPr id="437" name="Imagen 436">
              <a:extLst>
                <a:ext uri="{FF2B5EF4-FFF2-40B4-BE49-F238E27FC236}">
                  <a16:creationId xmlns:a16="http://schemas.microsoft.com/office/drawing/2014/main" id="{AB70B88B-2C70-62DD-2C4B-0976630470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56017" y="4004595"/>
              <a:ext cx="540363" cy="344552"/>
            </a:xfrm>
            <a:prstGeom prst="rect">
              <a:avLst/>
            </a:prstGeom>
          </p:spPr>
        </p:pic>
        <p:pic>
          <p:nvPicPr>
            <p:cNvPr id="438" name="Imagen 437">
              <a:extLst>
                <a:ext uri="{FF2B5EF4-FFF2-40B4-BE49-F238E27FC236}">
                  <a16:creationId xmlns:a16="http://schemas.microsoft.com/office/drawing/2014/main" id="{61F2ECA0-D10E-2524-25B9-425C6D7F68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04478" y="4004595"/>
              <a:ext cx="540363" cy="344552"/>
            </a:xfrm>
            <a:prstGeom prst="rect">
              <a:avLst/>
            </a:prstGeom>
          </p:spPr>
        </p:pic>
        <p:pic>
          <p:nvPicPr>
            <p:cNvPr id="439" name="Imagen 438">
              <a:extLst>
                <a:ext uri="{FF2B5EF4-FFF2-40B4-BE49-F238E27FC236}">
                  <a16:creationId xmlns:a16="http://schemas.microsoft.com/office/drawing/2014/main" id="{1942BAC6-5934-E27F-A8CC-1EC7EDED24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52939" y="4003292"/>
              <a:ext cx="540363" cy="344552"/>
            </a:xfrm>
            <a:prstGeom prst="rect">
              <a:avLst/>
            </a:prstGeom>
          </p:spPr>
        </p:pic>
        <p:pic>
          <p:nvPicPr>
            <p:cNvPr id="440" name="Imagen 439">
              <a:extLst>
                <a:ext uri="{FF2B5EF4-FFF2-40B4-BE49-F238E27FC236}">
                  <a16:creationId xmlns:a16="http://schemas.microsoft.com/office/drawing/2014/main" id="{78FE2804-660D-4185-65CF-01C3950253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01400" y="4003292"/>
              <a:ext cx="540363" cy="344552"/>
            </a:xfrm>
            <a:prstGeom prst="rect">
              <a:avLst/>
            </a:prstGeom>
          </p:spPr>
        </p:pic>
        <p:pic>
          <p:nvPicPr>
            <p:cNvPr id="441" name="Imagen 440">
              <a:extLst>
                <a:ext uri="{FF2B5EF4-FFF2-40B4-BE49-F238E27FC236}">
                  <a16:creationId xmlns:a16="http://schemas.microsoft.com/office/drawing/2014/main" id="{09CF9696-BB9A-7935-C797-A026CB3D2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49861" y="4003292"/>
              <a:ext cx="540363" cy="344552"/>
            </a:xfrm>
            <a:prstGeom prst="rect">
              <a:avLst/>
            </a:prstGeom>
          </p:spPr>
        </p:pic>
        <p:pic>
          <p:nvPicPr>
            <p:cNvPr id="442" name="Imagen 441">
              <a:extLst>
                <a:ext uri="{FF2B5EF4-FFF2-40B4-BE49-F238E27FC236}">
                  <a16:creationId xmlns:a16="http://schemas.microsoft.com/office/drawing/2014/main" id="{9F0F0379-353D-42FB-B6CC-C82FF14C63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98322" y="4004595"/>
              <a:ext cx="540363" cy="344552"/>
            </a:xfrm>
            <a:prstGeom prst="rect">
              <a:avLst/>
            </a:prstGeom>
          </p:spPr>
        </p:pic>
        <p:pic>
          <p:nvPicPr>
            <p:cNvPr id="443" name="Imagen 442">
              <a:extLst>
                <a:ext uri="{FF2B5EF4-FFF2-40B4-BE49-F238E27FC236}">
                  <a16:creationId xmlns:a16="http://schemas.microsoft.com/office/drawing/2014/main" id="{38A27EF8-317A-44DC-BEC2-377F19A034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46783" y="4004595"/>
              <a:ext cx="540363" cy="344552"/>
            </a:xfrm>
            <a:prstGeom prst="rect">
              <a:avLst/>
            </a:prstGeom>
          </p:spPr>
        </p:pic>
        <p:pic>
          <p:nvPicPr>
            <p:cNvPr id="444" name="Imagen 443">
              <a:extLst>
                <a:ext uri="{FF2B5EF4-FFF2-40B4-BE49-F238E27FC236}">
                  <a16:creationId xmlns:a16="http://schemas.microsoft.com/office/drawing/2014/main" id="{07360700-580C-B3F3-2F05-8F89FB2C03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95244" y="4004595"/>
              <a:ext cx="540363" cy="344552"/>
            </a:xfrm>
            <a:prstGeom prst="rect">
              <a:avLst/>
            </a:prstGeom>
          </p:spPr>
        </p:pic>
        <p:pic>
          <p:nvPicPr>
            <p:cNvPr id="445" name="Imagen 444">
              <a:extLst>
                <a:ext uri="{FF2B5EF4-FFF2-40B4-BE49-F238E27FC236}">
                  <a16:creationId xmlns:a16="http://schemas.microsoft.com/office/drawing/2014/main" id="{E2A8457D-8706-D645-03A4-587DD9ECC1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43705" y="4003292"/>
              <a:ext cx="540363" cy="344552"/>
            </a:xfrm>
            <a:prstGeom prst="rect">
              <a:avLst/>
            </a:prstGeom>
          </p:spPr>
        </p:pic>
        <p:pic>
          <p:nvPicPr>
            <p:cNvPr id="446" name="Imagen 445">
              <a:extLst>
                <a:ext uri="{FF2B5EF4-FFF2-40B4-BE49-F238E27FC236}">
                  <a16:creationId xmlns:a16="http://schemas.microsoft.com/office/drawing/2014/main" id="{A6038DB6-6774-5CC1-469F-2FA8561FD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92166" y="4003292"/>
              <a:ext cx="540363" cy="344552"/>
            </a:xfrm>
            <a:prstGeom prst="rect">
              <a:avLst/>
            </a:prstGeom>
          </p:spPr>
        </p:pic>
        <p:pic>
          <p:nvPicPr>
            <p:cNvPr id="447" name="Imagen 446">
              <a:extLst>
                <a:ext uri="{FF2B5EF4-FFF2-40B4-BE49-F238E27FC236}">
                  <a16:creationId xmlns:a16="http://schemas.microsoft.com/office/drawing/2014/main" id="{4E8E2B09-04EF-D6B2-C99C-ABF4B78F83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40627" y="4003292"/>
              <a:ext cx="540363" cy="344552"/>
            </a:xfrm>
            <a:prstGeom prst="rect">
              <a:avLst/>
            </a:prstGeom>
          </p:spPr>
        </p:pic>
        <p:pic>
          <p:nvPicPr>
            <p:cNvPr id="448" name="Imagen 447">
              <a:extLst>
                <a:ext uri="{FF2B5EF4-FFF2-40B4-BE49-F238E27FC236}">
                  <a16:creationId xmlns:a16="http://schemas.microsoft.com/office/drawing/2014/main" id="{AAD1C7E6-CBF9-FDFE-12C7-1AD87F8789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89088" y="4004595"/>
              <a:ext cx="540363" cy="344552"/>
            </a:xfrm>
            <a:prstGeom prst="rect">
              <a:avLst/>
            </a:prstGeom>
          </p:spPr>
        </p:pic>
        <p:pic>
          <p:nvPicPr>
            <p:cNvPr id="449" name="Imagen 448">
              <a:extLst>
                <a:ext uri="{FF2B5EF4-FFF2-40B4-BE49-F238E27FC236}">
                  <a16:creationId xmlns:a16="http://schemas.microsoft.com/office/drawing/2014/main" id="{279FC94C-DBA2-F496-AFD3-02F996E816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37549" y="4004595"/>
              <a:ext cx="540363" cy="344552"/>
            </a:xfrm>
            <a:prstGeom prst="rect">
              <a:avLst/>
            </a:prstGeom>
          </p:spPr>
        </p:pic>
        <p:pic>
          <p:nvPicPr>
            <p:cNvPr id="450" name="Imagen 449">
              <a:extLst>
                <a:ext uri="{FF2B5EF4-FFF2-40B4-BE49-F238E27FC236}">
                  <a16:creationId xmlns:a16="http://schemas.microsoft.com/office/drawing/2014/main" id="{65E70D68-7372-43C3-2283-FFDF82C7D8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86010" y="4004595"/>
              <a:ext cx="540363" cy="344552"/>
            </a:xfrm>
            <a:prstGeom prst="rect">
              <a:avLst/>
            </a:prstGeom>
          </p:spPr>
        </p:pic>
        <p:pic>
          <p:nvPicPr>
            <p:cNvPr id="451" name="Imagen 450">
              <a:extLst>
                <a:ext uri="{FF2B5EF4-FFF2-40B4-BE49-F238E27FC236}">
                  <a16:creationId xmlns:a16="http://schemas.microsoft.com/office/drawing/2014/main" id="{762F39EC-B6D4-2EA4-127B-E9A08BA386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34471" y="4006987"/>
              <a:ext cx="540363" cy="344552"/>
            </a:xfrm>
            <a:prstGeom prst="rect">
              <a:avLst/>
            </a:prstGeom>
          </p:spPr>
        </p:pic>
        <p:pic>
          <p:nvPicPr>
            <p:cNvPr id="452" name="Imagen 451">
              <a:extLst>
                <a:ext uri="{FF2B5EF4-FFF2-40B4-BE49-F238E27FC236}">
                  <a16:creationId xmlns:a16="http://schemas.microsoft.com/office/drawing/2014/main" id="{B48ECF04-03C6-2AC6-957C-6DA833E50C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82932" y="4006987"/>
              <a:ext cx="540363" cy="344552"/>
            </a:xfrm>
            <a:prstGeom prst="rect">
              <a:avLst/>
            </a:prstGeom>
          </p:spPr>
        </p:pic>
        <p:pic>
          <p:nvPicPr>
            <p:cNvPr id="453" name="Imagen 452">
              <a:extLst>
                <a:ext uri="{FF2B5EF4-FFF2-40B4-BE49-F238E27FC236}">
                  <a16:creationId xmlns:a16="http://schemas.microsoft.com/office/drawing/2014/main" id="{90913C19-366E-3223-8C7E-42E74C661D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31393" y="4006987"/>
              <a:ext cx="540363" cy="344552"/>
            </a:xfrm>
            <a:prstGeom prst="rect">
              <a:avLst/>
            </a:prstGeom>
          </p:spPr>
        </p:pic>
        <p:pic>
          <p:nvPicPr>
            <p:cNvPr id="454" name="Imagen 453">
              <a:extLst>
                <a:ext uri="{FF2B5EF4-FFF2-40B4-BE49-F238E27FC236}">
                  <a16:creationId xmlns:a16="http://schemas.microsoft.com/office/drawing/2014/main" id="{687F969D-8551-0C4E-1FBC-0A862599E5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79854" y="4008291"/>
              <a:ext cx="540363" cy="344552"/>
            </a:xfrm>
            <a:prstGeom prst="rect">
              <a:avLst/>
            </a:prstGeom>
          </p:spPr>
        </p:pic>
        <p:pic>
          <p:nvPicPr>
            <p:cNvPr id="455" name="Imagen 454">
              <a:extLst>
                <a:ext uri="{FF2B5EF4-FFF2-40B4-BE49-F238E27FC236}">
                  <a16:creationId xmlns:a16="http://schemas.microsoft.com/office/drawing/2014/main" id="{460F111D-8922-6951-8BA9-40D2C686B0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28315" y="4008291"/>
              <a:ext cx="540363" cy="344552"/>
            </a:xfrm>
            <a:prstGeom prst="rect">
              <a:avLst/>
            </a:prstGeom>
          </p:spPr>
        </p:pic>
        <p:pic>
          <p:nvPicPr>
            <p:cNvPr id="456" name="Imagen 455">
              <a:extLst>
                <a:ext uri="{FF2B5EF4-FFF2-40B4-BE49-F238E27FC236}">
                  <a16:creationId xmlns:a16="http://schemas.microsoft.com/office/drawing/2014/main" id="{2ED60747-051E-BFE2-E418-005469468F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76776" y="4008291"/>
              <a:ext cx="540363" cy="344552"/>
            </a:xfrm>
            <a:prstGeom prst="rect">
              <a:avLst/>
            </a:prstGeom>
          </p:spPr>
        </p:pic>
        <p:pic>
          <p:nvPicPr>
            <p:cNvPr id="457" name="Imagen 456">
              <a:extLst>
                <a:ext uri="{FF2B5EF4-FFF2-40B4-BE49-F238E27FC236}">
                  <a16:creationId xmlns:a16="http://schemas.microsoft.com/office/drawing/2014/main" id="{88A7457E-641E-1406-DDC9-030F2397D0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25237" y="4006987"/>
              <a:ext cx="540363" cy="344552"/>
            </a:xfrm>
            <a:prstGeom prst="rect">
              <a:avLst/>
            </a:prstGeom>
          </p:spPr>
        </p:pic>
        <p:pic>
          <p:nvPicPr>
            <p:cNvPr id="458" name="Imagen 457">
              <a:extLst>
                <a:ext uri="{FF2B5EF4-FFF2-40B4-BE49-F238E27FC236}">
                  <a16:creationId xmlns:a16="http://schemas.microsoft.com/office/drawing/2014/main" id="{463BD79C-1B60-7AA3-E4B0-5AB375C0C2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73698" y="4006987"/>
              <a:ext cx="540363" cy="344552"/>
            </a:xfrm>
            <a:prstGeom prst="rect">
              <a:avLst/>
            </a:prstGeom>
          </p:spPr>
        </p:pic>
        <p:pic>
          <p:nvPicPr>
            <p:cNvPr id="459" name="Imagen 458">
              <a:extLst>
                <a:ext uri="{FF2B5EF4-FFF2-40B4-BE49-F238E27FC236}">
                  <a16:creationId xmlns:a16="http://schemas.microsoft.com/office/drawing/2014/main" id="{9C862B0A-327F-9D87-F86B-B8428FE1F2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22159" y="4006987"/>
              <a:ext cx="540363" cy="344552"/>
            </a:xfrm>
            <a:prstGeom prst="rect">
              <a:avLst/>
            </a:prstGeom>
          </p:spPr>
        </p:pic>
        <p:pic>
          <p:nvPicPr>
            <p:cNvPr id="460" name="Imagen 459">
              <a:extLst>
                <a:ext uri="{FF2B5EF4-FFF2-40B4-BE49-F238E27FC236}">
                  <a16:creationId xmlns:a16="http://schemas.microsoft.com/office/drawing/2014/main" id="{8573A58A-1B27-7393-7747-E97E1C6933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70620" y="4008291"/>
              <a:ext cx="540363" cy="344552"/>
            </a:xfrm>
            <a:prstGeom prst="rect">
              <a:avLst/>
            </a:prstGeom>
          </p:spPr>
        </p:pic>
        <p:pic>
          <p:nvPicPr>
            <p:cNvPr id="461" name="Imagen 460">
              <a:extLst>
                <a:ext uri="{FF2B5EF4-FFF2-40B4-BE49-F238E27FC236}">
                  <a16:creationId xmlns:a16="http://schemas.microsoft.com/office/drawing/2014/main" id="{CBCA5068-E667-E84F-F98D-76481119A7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19081" y="4008291"/>
              <a:ext cx="540363" cy="344552"/>
            </a:xfrm>
            <a:prstGeom prst="rect">
              <a:avLst/>
            </a:prstGeom>
          </p:spPr>
        </p:pic>
        <p:pic>
          <p:nvPicPr>
            <p:cNvPr id="462" name="Imagen 461">
              <a:extLst>
                <a:ext uri="{FF2B5EF4-FFF2-40B4-BE49-F238E27FC236}">
                  <a16:creationId xmlns:a16="http://schemas.microsoft.com/office/drawing/2014/main" id="{44DDBA29-7440-3D83-7463-ACF5C696E9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67542" y="4008291"/>
              <a:ext cx="540363" cy="344552"/>
            </a:xfrm>
            <a:prstGeom prst="rect">
              <a:avLst/>
            </a:prstGeom>
          </p:spPr>
        </p:pic>
        <p:pic>
          <p:nvPicPr>
            <p:cNvPr id="463" name="Imagen 462">
              <a:extLst>
                <a:ext uri="{FF2B5EF4-FFF2-40B4-BE49-F238E27FC236}">
                  <a16:creationId xmlns:a16="http://schemas.microsoft.com/office/drawing/2014/main" id="{A8696DC5-3E04-078A-5494-EFFDFBE55D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16003" y="4008291"/>
              <a:ext cx="540363" cy="344552"/>
            </a:xfrm>
            <a:prstGeom prst="rect">
              <a:avLst/>
            </a:prstGeom>
          </p:spPr>
        </p:pic>
        <p:pic>
          <p:nvPicPr>
            <p:cNvPr id="464" name="Imagen 463">
              <a:extLst>
                <a:ext uri="{FF2B5EF4-FFF2-40B4-BE49-F238E27FC236}">
                  <a16:creationId xmlns:a16="http://schemas.microsoft.com/office/drawing/2014/main" id="{502C83EE-6C19-AFE2-08B6-5607280A0D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64464" y="4008291"/>
              <a:ext cx="540363" cy="344552"/>
            </a:xfrm>
            <a:prstGeom prst="rect">
              <a:avLst/>
            </a:prstGeom>
          </p:spPr>
        </p:pic>
        <p:pic>
          <p:nvPicPr>
            <p:cNvPr id="465" name="Imagen 464">
              <a:extLst>
                <a:ext uri="{FF2B5EF4-FFF2-40B4-BE49-F238E27FC236}">
                  <a16:creationId xmlns:a16="http://schemas.microsoft.com/office/drawing/2014/main" id="{D7A63227-EBAA-7DD7-381D-2F78396399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12925" y="4008291"/>
              <a:ext cx="540363" cy="344552"/>
            </a:xfrm>
            <a:prstGeom prst="rect">
              <a:avLst/>
            </a:prstGeom>
          </p:spPr>
        </p:pic>
        <p:pic>
          <p:nvPicPr>
            <p:cNvPr id="466" name="Imagen 465">
              <a:extLst>
                <a:ext uri="{FF2B5EF4-FFF2-40B4-BE49-F238E27FC236}">
                  <a16:creationId xmlns:a16="http://schemas.microsoft.com/office/drawing/2014/main" id="{970CA811-4C25-B3EE-44CB-CA15B8377A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61386" y="4009594"/>
              <a:ext cx="540363" cy="344552"/>
            </a:xfrm>
            <a:prstGeom prst="rect">
              <a:avLst/>
            </a:prstGeom>
          </p:spPr>
        </p:pic>
        <p:pic>
          <p:nvPicPr>
            <p:cNvPr id="467" name="Imagen 466">
              <a:extLst>
                <a:ext uri="{FF2B5EF4-FFF2-40B4-BE49-F238E27FC236}">
                  <a16:creationId xmlns:a16="http://schemas.microsoft.com/office/drawing/2014/main" id="{652EAB38-ADEC-C344-7EFA-DD2BDD72A7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09847" y="4007295"/>
              <a:ext cx="540363" cy="344552"/>
            </a:xfrm>
            <a:prstGeom prst="rect">
              <a:avLst/>
            </a:prstGeom>
          </p:spPr>
        </p:pic>
        <p:pic>
          <p:nvPicPr>
            <p:cNvPr id="468" name="Imagen 467">
              <a:extLst>
                <a:ext uri="{FF2B5EF4-FFF2-40B4-BE49-F238E27FC236}">
                  <a16:creationId xmlns:a16="http://schemas.microsoft.com/office/drawing/2014/main" id="{6B614408-00BA-08D9-25FE-1939A78491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58308" y="4008942"/>
              <a:ext cx="540363" cy="344552"/>
            </a:xfrm>
            <a:prstGeom prst="rect">
              <a:avLst/>
            </a:prstGeom>
          </p:spPr>
        </p:pic>
        <p:pic>
          <p:nvPicPr>
            <p:cNvPr id="469" name="Imagen 468">
              <a:extLst>
                <a:ext uri="{FF2B5EF4-FFF2-40B4-BE49-F238E27FC236}">
                  <a16:creationId xmlns:a16="http://schemas.microsoft.com/office/drawing/2014/main" id="{4DA34AAE-BA87-1AED-9EA1-EC7E11069D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06760" y="4010694"/>
              <a:ext cx="540363" cy="344552"/>
            </a:xfrm>
            <a:prstGeom prst="rect">
              <a:avLst/>
            </a:prstGeom>
          </p:spPr>
        </p:pic>
        <p:pic>
          <p:nvPicPr>
            <p:cNvPr id="470" name="Imagen 469">
              <a:extLst>
                <a:ext uri="{FF2B5EF4-FFF2-40B4-BE49-F238E27FC236}">
                  <a16:creationId xmlns:a16="http://schemas.microsoft.com/office/drawing/2014/main" id="{5B1C7B27-3DA0-CB10-403A-99462B6434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56346" y="4005684"/>
              <a:ext cx="540363" cy="344552"/>
            </a:xfrm>
            <a:prstGeom prst="rect">
              <a:avLst/>
            </a:prstGeom>
          </p:spPr>
        </p:pic>
        <p:pic>
          <p:nvPicPr>
            <p:cNvPr id="471" name="Imagen 470">
              <a:extLst>
                <a:ext uri="{FF2B5EF4-FFF2-40B4-BE49-F238E27FC236}">
                  <a16:creationId xmlns:a16="http://schemas.microsoft.com/office/drawing/2014/main" id="{18B0D9BF-0730-77A5-5252-EA52FDADA9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1434" y="4151017"/>
              <a:ext cx="540363" cy="344552"/>
            </a:xfrm>
            <a:prstGeom prst="rect">
              <a:avLst/>
            </a:prstGeom>
          </p:spPr>
        </p:pic>
        <p:pic>
          <p:nvPicPr>
            <p:cNvPr id="472" name="Imagen 471">
              <a:extLst>
                <a:ext uri="{FF2B5EF4-FFF2-40B4-BE49-F238E27FC236}">
                  <a16:creationId xmlns:a16="http://schemas.microsoft.com/office/drawing/2014/main" id="{839B7CB6-E126-DD16-DAEB-DEE06D0A89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9835" y="4151017"/>
              <a:ext cx="540363" cy="344552"/>
            </a:xfrm>
            <a:prstGeom prst="rect">
              <a:avLst/>
            </a:prstGeom>
          </p:spPr>
        </p:pic>
        <p:pic>
          <p:nvPicPr>
            <p:cNvPr id="473" name="Imagen 472">
              <a:extLst>
                <a:ext uri="{FF2B5EF4-FFF2-40B4-BE49-F238E27FC236}">
                  <a16:creationId xmlns:a16="http://schemas.microsoft.com/office/drawing/2014/main" id="{0338750D-AAD1-9028-3EB4-D47BB105D4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8236" y="4151017"/>
              <a:ext cx="540363" cy="344552"/>
            </a:xfrm>
            <a:prstGeom prst="rect">
              <a:avLst/>
            </a:prstGeom>
          </p:spPr>
        </p:pic>
        <p:pic>
          <p:nvPicPr>
            <p:cNvPr id="474" name="Imagen 473">
              <a:extLst>
                <a:ext uri="{FF2B5EF4-FFF2-40B4-BE49-F238E27FC236}">
                  <a16:creationId xmlns:a16="http://schemas.microsoft.com/office/drawing/2014/main" id="{919AC141-AB3E-EA13-8652-7640C63C75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86637" y="4151017"/>
              <a:ext cx="540363" cy="344552"/>
            </a:xfrm>
            <a:prstGeom prst="rect">
              <a:avLst/>
            </a:prstGeom>
          </p:spPr>
        </p:pic>
        <p:pic>
          <p:nvPicPr>
            <p:cNvPr id="475" name="Imagen 474">
              <a:extLst>
                <a:ext uri="{FF2B5EF4-FFF2-40B4-BE49-F238E27FC236}">
                  <a16:creationId xmlns:a16="http://schemas.microsoft.com/office/drawing/2014/main" id="{42B5A7D2-D644-24F3-C45A-BE9E8E0D11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535038" y="4151017"/>
              <a:ext cx="540363" cy="344552"/>
            </a:xfrm>
            <a:prstGeom prst="rect">
              <a:avLst/>
            </a:prstGeom>
          </p:spPr>
        </p:pic>
        <p:pic>
          <p:nvPicPr>
            <p:cNvPr id="476" name="Imagen 475">
              <a:extLst>
                <a:ext uri="{FF2B5EF4-FFF2-40B4-BE49-F238E27FC236}">
                  <a16:creationId xmlns:a16="http://schemas.microsoft.com/office/drawing/2014/main" id="{834805BA-8FFF-DACB-F825-04E9414EC6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583439" y="4151017"/>
              <a:ext cx="540363" cy="344552"/>
            </a:xfrm>
            <a:prstGeom prst="rect">
              <a:avLst/>
            </a:prstGeom>
          </p:spPr>
        </p:pic>
        <p:pic>
          <p:nvPicPr>
            <p:cNvPr id="477" name="Imagen 476">
              <a:extLst>
                <a:ext uri="{FF2B5EF4-FFF2-40B4-BE49-F238E27FC236}">
                  <a16:creationId xmlns:a16="http://schemas.microsoft.com/office/drawing/2014/main" id="{1B42A897-2975-D668-2B03-0D13C1AA0D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631840" y="4151017"/>
              <a:ext cx="540363" cy="344552"/>
            </a:xfrm>
            <a:prstGeom prst="rect">
              <a:avLst/>
            </a:prstGeom>
          </p:spPr>
        </p:pic>
        <p:pic>
          <p:nvPicPr>
            <p:cNvPr id="478" name="Imagen 477">
              <a:extLst>
                <a:ext uri="{FF2B5EF4-FFF2-40B4-BE49-F238E27FC236}">
                  <a16:creationId xmlns:a16="http://schemas.microsoft.com/office/drawing/2014/main" id="{14F76375-270F-9555-EA85-AB8232ADF8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680241" y="4151017"/>
              <a:ext cx="540363" cy="344552"/>
            </a:xfrm>
            <a:prstGeom prst="rect">
              <a:avLst/>
            </a:prstGeom>
          </p:spPr>
        </p:pic>
        <p:pic>
          <p:nvPicPr>
            <p:cNvPr id="479" name="Imagen 478">
              <a:extLst>
                <a:ext uri="{FF2B5EF4-FFF2-40B4-BE49-F238E27FC236}">
                  <a16:creationId xmlns:a16="http://schemas.microsoft.com/office/drawing/2014/main" id="{E23A063B-67FF-366C-589B-24899D3519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728642" y="4151017"/>
              <a:ext cx="540363" cy="344552"/>
            </a:xfrm>
            <a:prstGeom prst="rect">
              <a:avLst/>
            </a:prstGeom>
          </p:spPr>
        </p:pic>
        <p:pic>
          <p:nvPicPr>
            <p:cNvPr id="480" name="Imagen 479">
              <a:extLst>
                <a:ext uri="{FF2B5EF4-FFF2-40B4-BE49-F238E27FC236}">
                  <a16:creationId xmlns:a16="http://schemas.microsoft.com/office/drawing/2014/main" id="{3A260915-E05A-EB7D-422E-F221432B6A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777043" y="4151017"/>
              <a:ext cx="540363" cy="344552"/>
            </a:xfrm>
            <a:prstGeom prst="rect">
              <a:avLst/>
            </a:prstGeom>
          </p:spPr>
        </p:pic>
        <p:pic>
          <p:nvPicPr>
            <p:cNvPr id="481" name="Imagen 480">
              <a:extLst>
                <a:ext uri="{FF2B5EF4-FFF2-40B4-BE49-F238E27FC236}">
                  <a16:creationId xmlns:a16="http://schemas.microsoft.com/office/drawing/2014/main" id="{5333F4D5-AA1F-8255-C12B-90FF7F56C9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825444" y="4151017"/>
              <a:ext cx="540363" cy="344552"/>
            </a:xfrm>
            <a:prstGeom prst="rect">
              <a:avLst/>
            </a:prstGeom>
          </p:spPr>
        </p:pic>
        <p:pic>
          <p:nvPicPr>
            <p:cNvPr id="482" name="Imagen 481">
              <a:extLst>
                <a:ext uri="{FF2B5EF4-FFF2-40B4-BE49-F238E27FC236}">
                  <a16:creationId xmlns:a16="http://schemas.microsoft.com/office/drawing/2014/main" id="{35CD0AC1-4E45-1215-A9EA-C9A8E43CBA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873845" y="4151017"/>
              <a:ext cx="540363" cy="344552"/>
            </a:xfrm>
            <a:prstGeom prst="rect">
              <a:avLst/>
            </a:prstGeom>
          </p:spPr>
        </p:pic>
        <p:pic>
          <p:nvPicPr>
            <p:cNvPr id="483" name="Imagen 482">
              <a:extLst>
                <a:ext uri="{FF2B5EF4-FFF2-40B4-BE49-F238E27FC236}">
                  <a16:creationId xmlns:a16="http://schemas.microsoft.com/office/drawing/2014/main" id="{F0D6A48B-8423-A457-3343-6BEF07BEE1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922246" y="4151017"/>
              <a:ext cx="540363" cy="344552"/>
            </a:xfrm>
            <a:prstGeom prst="rect">
              <a:avLst/>
            </a:prstGeom>
          </p:spPr>
        </p:pic>
        <p:pic>
          <p:nvPicPr>
            <p:cNvPr id="484" name="Imagen 483">
              <a:extLst>
                <a:ext uri="{FF2B5EF4-FFF2-40B4-BE49-F238E27FC236}">
                  <a16:creationId xmlns:a16="http://schemas.microsoft.com/office/drawing/2014/main" id="{316CB717-8A8A-2615-CB3F-0A3F0A2B6F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970647" y="4151017"/>
              <a:ext cx="540363" cy="344552"/>
            </a:xfrm>
            <a:prstGeom prst="rect">
              <a:avLst/>
            </a:prstGeom>
          </p:spPr>
        </p:pic>
        <p:pic>
          <p:nvPicPr>
            <p:cNvPr id="485" name="Imagen 484">
              <a:extLst>
                <a:ext uri="{FF2B5EF4-FFF2-40B4-BE49-F238E27FC236}">
                  <a16:creationId xmlns:a16="http://schemas.microsoft.com/office/drawing/2014/main" id="{86D13105-B3C5-83B4-CB86-A43FD92D1B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019048" y="4151017"/>
              <a:ext cx="540363" cy="344552"/>
            </a:xfrm>
            <a:prstGeom prst="rect">
              <a:avLst/>
            </a:prstGeom>
          </p:spPr>
        </p:pic>
        <p:pic>
          <p:nvPicPr>
            <p:cNvPr id="486" name="Imagen 485">
              <a:extLst>
                <a:ext uri="{FF2B5EF4-FFF2-40B4-BE49-F238E27FC236}">
                  <a16:creationId xmlns:a16="http://schemas.microsoft.com/office/drawing/2014/main" id="{28F1661D-F20F-5B5D-EDE6-4951AB965A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067449" y="4151017"/>
              <a:ext cx="540363" cy="344552"/>
            </a:xfrm>
            <a:prstGeom prst="rect">
              <a:avLst/>
            </a:prstGeom>
          </p:spPr>
        </p:pic>
        <p:pic>
          <p:nvPicPr>
            <p:cNvPr id="487" name="Imagen 486">
              <a:extLst>
                <a:ext uri="{FF2B5EF4-FFF2-40B4-BE49-F238E27FC236}">
                  <a16:creationId xmlns:a16="http://schemas.microsoft.com/office/drawing/2014/main" id="{2E299413-CF4B-C5B6-BF9C-33DE4C5B55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115850" y="4151017"/>
              <a:ext cx="540363" cy="344552"/>
            </a:xfrm>
            <a:prstGeom prst="rect">
              <a:avLst/>
            </a:prstGeom>
          </p:spPr>
        </p:pic>
        <p:pic>
          <p:nvPicPr>
            <p:cNvPr id="488" name="Imagen 487">
              <a:extLst>
                <a:ext uri="{FF2B5EF4-FFF2-40B4-BE49-F238E27FC236}">
                  <a16:creationId xmlns:a16="http://schemas.microsoft.com/office/drawing/2014/main" id="{89BE0FAB-8EEB-2678-4693-D4C981F654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164251" y="4151017"/>
              <a:ext cx="540363" cy="344552"/>
            </a:xfrm>
            <a:prstGeom prst="rect">
              <a:avLst/>
            </a:prstGeom>
          </p:spPr>
        </p:pic>
        <p:pic>
          <p:nvPicPr>
            <p:cNvPr id="489" name="Imagen 488">
              <a:extLst>
                <a:ext uri="{FF2B5EF4-FFF2-40B4-BE49-F238E27FC236}">
                  <a16:creationId xmlns:a16="http://schemas.microsoft.com/office/drawing/2014/main" id="{2A81EA82-35D9-0834-1D97-B8BEA72582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212652" y="4151017"/>
              <a:ext cx="540363" cy="344552"/>
            </a:xfrm>
            <a:prstGeom prst="rect">
              <a:avLst/>
            </a:prstGeom>
          </p:spPr>
        </p:pic>
        <p:pic>
          <p:nvPicPr>
            <p:cNvPr id="490" name="Imagen 489">
              <a:extLst>
                <a:ext uri="{FF2B5EF4-FFF2-40B4-BE49-F238E27FC236}">
                  <a16:creationId xmlns:a16="http://schemas.microsoft.com/office/drawing/2014/main" id="{378FE50C-6633-E11A-D3A2-4D31821B34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261053" y="4151017"/>
              <a:ext cx="540363" cy="344552"/>
            </a:xfrm>
            <a:prstGeom prst="rect">
              <a:avLst/>
            </a:prstGeom>
          </p:spPr>
        </p:pic>
        <p:pic>
          <p:nvPicPr>
            <p:cNvPr id="491" name="Imagen 490">
              <a:extLst>
                <a:ext uri="{FF2B5EF4-FFF2-40B4-BE49-F238E27FC236}">
                  <a16:creationId xmlns:a16="http://schemas.microsoft.com/office/drawing/2014/main" id="{AE1D3DE5-1223-7382-1918-204AF9A93B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309454" y="4151017"/>
              <a:ext cx="540363" cy="344552"/>
            </a:xfrm>
            <a:prstGeom prst="rect">
              <a:avLst/>
            </a:prstGeom>
          </p:spPr>
        </p:pic>
        <p:pic>
          <p:nvPicPr>
            <p:cNvPr id="492" name="Imagen 491">
              <a:extLst>
                <a:ext uri="{FF2B5EF4-FFF2-40B4-BE49-F238E27FC236}">
                  <a16:creationId xmlns:a16="http://schemas.microsoft.com/office/drawing/2014/main" id="{276E3420-D5B8-8018-0ECA-7A4BF93E32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357855" y="4151017"/>
              <a:ext cx="540363" cy="344552"/>
            </a:xfrm>
            <a:prstGeom prst="rect">
              <a:avLst/>
            </a:prstGeom>
          </p:spPr>
        </p:pic>
        <p:pic>
          <p:nvPicPr>
            <p:cNvPr id="493" name="Imagen 492">
              <a:extLst>
                <a:ext uri="{FF2B5EF4-FFF2-40B4-BE49-F238E27FC236}">
                  <a16:creationId xmlns:a16="http://schemas.microsoft.com/office/drawing/2014/main" id="{D645084C-B89A-A0CF-816C-157F0CA076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406256" y="4151017"/>
              <a:ext cx="540363" cy="344552"/>
            </a:xfrm>
            <a:prstGeom prst="rect">
              <a:avLst/>
            </a:prstGeom>
          </p:spPr>
        </p:pic>
        <p:pic>
          <p:nvPicPr>
            <p:cNvPr id="494" name="Imagen 493">
              <a:extLst>
                <a:ext uri="{FF2B5EF4-FFF2-40B4-BE49-F238E27FC236}">
                  <a16:creationId xmlns:a16="http://schemas.microsoft.com/office/drawing/2014/main" id="{04273CB2-D2A6-355C-E399-E753F58350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454657" y="4151017"/>
              <a:ext cx="540363" cy="344552"/>
            </a:xfrm>
            <a:prstGeom prst="rect">
              <a:avLst/>
            </a:prstGeom>
          </p:spPr>
        </p:pic>
        <p:pic>
          <p:nvPicPr>
            <p:cNvPr id="495" name="Imagen 494">
              <a:extLst>
                <a:ext uri="{FF2B5EF4-FFF2-40B4-BE49-F238E27FC236}">
                  <a16:creationId xmlns:a16="http://schemas.microsoft.com/office/drawing/2014/main" id="{F48C3FCD-1434-756E-D3CA-0D0230F204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03058" y="4151017"/>
              <a:ext cx="540363" cy="344552"/>
            </a:xfrm>
            <a:prstGeom prst="rect">
              <a:avLst/>
            </a:prstGeom>
          </p:spPr>
        </p:pic>
        <p:pic>
          <p:nvPicPr>
            <p:cNvPr id="496" name="Imagen 495">
              <a:extLst>
                <a:ext uri="{FF2B5EF4-FFF2-40B4-BE49-F238E27FC236}">
                  <a16:creationId xmlns:a16="http://schemas.microsoft.com/office/drawing/2014/main" id="{4D03090F-61F7-342C-5EF0-44C101F1D6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51459" y="4151017"/>
              <a:ext cx="540363" cy="344552"/>
            </a:xfrm>
            <a:prstGeom prst="rect">
              <a:avLst/>
            </a:prstGeom>
          </p:spPr>
        </p:pic>
        <p:pic>
          <p:nvPicPr>
            <p:cNvPr id="497" name="Imagen 496">
              <a:extLst>
                <a:ext uri="{FF2B5EF4-FFF2-40B4-BE49-F238E27FC236}">
                  <a16:creationId xmlns:a16="http://schemas.microsoft.com/office/drawing/2014/main" id="{610DA661-BC14-E878-86D3-927D008E69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99860" y="4151017"/>
              <a:ext cx="540363" cy="344552"/>
            </a:xfrm>
            <a:prstGeom prst="rect">
              <a:avLst/>
            </a:prstGeom>
          </p:spPr>
        </p:pic>
        <p:pic>
          <p:nvPicPr>
            <p:cNvPr id="498" name="Imagen 497">
              <a:extLst>
                <a:ext uri="{FF2B5EF4-FFF2-40B4-BE49-F238E27FC236}">
                  <a16:creationId xmlns:a16="http://schemas.microsoft.com/office/drawing/2014/main" id="{F48C39C5-D75B-4A65-4D94-359B1C5176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648261" y="4151017"/>
              <a:ext cx="540363" cy="344552"/>
            </a:xfrm>
            <a:prstGeom prst="rect">
              <a:avLst/>
            </a:prstGeom>
          </p:spPr>
        </p:pic>
        <p:pic>
          <p:nvPicPr>
            <p:cNvPr id="499" name="Imagen 498">
              <a:extLst>
                <a:ext uri="{FF2B5EF4-FFF2-40B4-BE49-F238E27FC236}">
                  <a16:creationId xmlns:a16="http://schemas.microsoft.com/office/drawing/2014/main" id="{52F8EB3A-5A7D-09EE-1607-867540110C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696662" y="4151017"/>
              <a:ext cx="540363" cy="344552"/>
            </a:xfrm>
            <a:prstGeom prst="rect">
              <a:avLst/>
            </a:prstGeom>
          </p:spPr>
        </p:pic>
        <p:pic>
          <p:nvPicPr>
            <p:cNvPr id="500" name="Imagen 499">
              <a:extLst>
                <a:ext uri="{FF2B5EF4-FFF2-40B4-BE49-F238E27FC236}">
                  <a16:creationId xmlns:a16="http://schemas.microsoft.com/office/drawing/2014/main" id="{4B97FAE0-4206-BC11-3C75-287C8808AD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45063" y="4151017"/>
              <a:ext cx="540363" cy="344552"/>
            </a:xfrm>
            <a:prstGeom prst="rect">
              <a:avLst/>
            </a:prstGeom>
          </p:spPr>
        </p:pic>
        <p:pic>
          <p:nvPicPr>
            <p:cNvPr id="501" name="Imagen 500">
              <a:extLst>
                <a:ext uri="{FF2B5EF4-FFF2-40B4-BE49-F238E27FC236}">
                  <a16:creationId xmlns:a16="http://schemas.microsoft.com/office/drawing/2014/main" id="{2D002C70-91A5-A000-CB51-040FDD9C7D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93464" y="4151017"/>
              <a:ext cx="540363" cy="344552"/>
            </a:xfrm>
            <a:prstGeom prst="rect">
              <a:avLst/>
            </a:prstGeom>
          </p:spPr>
        </p:pic>
        <p:pic>
          <p:nvPicPr>
            <p:cNvPr id="502" name="Imagen 501">
              <a:extLst>
                <a:ext uri="{FF2B5EF4-FFF2-40B4-BE49-F238E27FC236}">
                  <a16:creationId xmlns:a16="http://schemas.microsoft.com/office/drawing/2014/main" id="{FF41F659-768F-288D-5215-C2E0C65DF5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841865" y="4151017"/>
              <a:ext cx="540363" cy="344552"/>
            </a:xfrm>
            <a:prstGeom prst="rect">
              <a:avLst/>
            </a:prstGeom>
          </p:spPr>
        </p:pic>
        <p:pic>
          <p:nvPicPr>
            <p:cNvPr id="503" name="Imagen 502">
              <a:extLst>
                <a:ext uri="{FF2B5EF4-FFF2-40B4-BE49-F238E27FC236}">
                  <a16:creationId xmlns:a16="http://schemas.microsoft.com/office/drawing/2014/main" id="{CEA174DF-7E89-07C2-0882-7EE6F3C5F3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890266" y="4151017"/>
              <a:ext cx="540363" cy="344552"/>
            </a:xfrm>
            <a:prstGeom prst="rect">
              <a:avLst/>
            </a:prstGeom>
          </p:spPr>
        </p:pic>
        <p:pic>
          <p:nvPicPr>
            <p:cNvPr id="504" name="Imagen 503">
              <a:extLst>
                <a:ext uri="{FF2B5EF4-FFF2-40B4-BE49-F238E27FC236}">
                  <a16:creationId xmlns:a16="http://schemas.microsoft.com/office/drawing/2014/main" id="{8F04BCE6-90EC-9094-ECB5-5BF222D48B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938667" y="4151017"/>
              <a:ext cx="540363" cy="344552"/>
            </a:xfrm>
            <a:prstGeom prst="rect">
              <a:avLst/>
            </a:prstGeom>
          </p:spPr>
        </p:pic>
        <p:pic>
          <p:nvPicPr>
            <p:cNvPr id="505" name="Imagen 504">
              <a:extLst>
                <a:ext uri="{FF2B5EF4-FFF2-40B4-BE49-F238E27FC236}">
                  <a16:creationId xmlns:a16="http://schemas.microsoft.com/office/drawing/2014/main" id="{59901112-7438-49D3-2B22-313AEB821D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987068" y="4151017"/>
              <a:ext cx="540363" cy="344552"/>
            </a:xfrm>
            <a:prstGeom prst="rect">
              <a:avLst/>
            </a:prstGeom>
          </p:spPr>
        </p:pic>
        <p:pic>
          <p:nvPicPr>
            <p:cNvPr id="506" name="Imagen 505">
              <a:extLst>
                <a:ext uri="{FF2B5EF4-FFF2-40B4-BE49-F238E27FC236}">
                  <a16:creationId xmlns:a16="http://schemas.microsoft.com/office/drawing/2014/main" id="{4597B828-51C2-FA48-99ED-A55E8BFE68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035469" y="4151017"/>
              <a:ext cx="540363" cy="344552"/>
            </a:xfrm>
            <a:prstGeom prst="rect">
              <a:avLst/>
            </a:prstGeom>
          </p:spPr>
        </p:pic>
        <p:pic>
          <p:nvPicPr>
            <p:cNvPr id="507" name="Imagen 506">
              <a:extLst>
                <a:ext uri="{FF2B5EF4-FFF2-40B4-BE49-F238E27FC236}">
                  <a16:creationId xmlns:a16="http://schemas.microsoft.com/office/drawing/2014/main" id="{CBC9B5FE-F05C-DEE2-5EF6-188BF18C23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083870" y="4151017"/>
              <a:ext cx="540363" cy="344552"/>
            </a:xfrm>
            <a:prstGeom prst="rect">
              <a:avLst/>
            </a:prstGeom>
          </p:spPr>
        </p:pic>
        <p:pic>
          <p:nvPicPr>
            <p:cNvPr id="508" name="Imagen 507">
              <a:extLst>
                <a:ext uri="{FF2B5EF4-FFF2-40B4-BE49-F238E27FC236}">
                  <a16:creationId xmlns:a16="http://schemas.microsoft.com/office/drawing/2014/main" id="{C1235252-9206-5024-AF69-26044F82BE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132271" y="4151017"/>
              <a:ext cx="540363" cy="344552"/>
            </a:xfrm>
            <a:prstGeom prst="rect">
              <a:avLst/>
            </a:prstGeom>
          </p:spPr>
        </p:pic>
        <p:pic>
          <p:nvPicPr>
            <p:cNvPr id="509" name="Imagen 508">
              <a:extLst>
                <a:ext uri="{FF2B5EF4-FFF2-40B4-BE49-F238E27FC236}">
                  <a16:creationId xmlns:a16="http://schemas.microsoft.com/office/drawing/2014/main" id="{6496277E-69F1-34D4-1A48-222EF7D70F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180672" y="4151017"/>
              <a:ext cx="540363" cy="344552"/>
            </a:xfrm>
            <a:prstGeom prst="rect">
              <a:avLst/>
            </a:prstGeom>
          </p:spPr>
        </p:pic>
        <p:pic>
          <p:nvPicPr>
            <p:cNvPr id="510" name="Imagen 509">
              <a:extLst>
                <a:ext uri="{FF2B5EF4-FFF2-40B4-BE49-F238E27FC236}">
                  <a16:creationId xmlns:a16="http://schemas.microsoft.com/office/drawing/2014/main" id="{35A1BAD1-395A-BDA6-6050-125B934A0A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229073" y="4151017"/>
              <a:ext cx="540363" cy="344552"/>
            </a:xfrm>
            <a:prstGeom prst="rect">
              <a:avLst/>
            </a:prstGeom>
          </p:spPr>
        </p:pic>
        <p:pic>
          <p:nvPicPr>
            <p:cNvPr id="511" name="Imagen 510">
              <a:extLst>
                <a:ext uri="{FF2B5EF4-FFF2-40B4-BE49-F238E27FC236}">
                  <a16:creationId xmlns:a16="http://schemas.microsoft.com/office/drawing/2014/main" id="{A6930632-7BF9-D302-711E-CE71678460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277474" y="4151017"/>
              <a:ext cx="540363" cy="344552"/>
            </a:xfrm>
            <a:prstGeom prst="rect">
              <a:avLst/>
            </a:prstGeom>
          </p:spPr>
        </p:pic>
        <p:pic>
          <p:nvPicPr>
            <p:cNvPr id="512" name="Imagen 511">
              <a:extLst>
                <a:ext uri="{FF2B5EF4-FFF2-40B4-BE49-F238E27FC236}">
                  <a16:creationId xmlns:a16="http://schemas.microsoft.com/office/drawing/2014/main" id="{87BBA31E-2402-B870-630B-D216F3AECA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25875" y="4151017"/>
              <a:ext cx="540363" cy="344552"/>
            </a:xfrm>
            <a:prstGeom prst="rect">
              <a:avLst/>
            </a:prstGeom>
          </p:spPr>
        </p:pic>
        <p:pic>
          <p:nvPicPr>
            <p:cNvPr id="513" name="Imagen 512">
              <a:extLst>
                <a:ext uri="{FF2B5EF4-FFF2-40B4-BE49-F238E27FC236}">
                  <a16:creationId xmlns:a16="http://schemas.microsoft.com/office/drawing/2014/main" id="{93CC9393-5994-F591-641A-4A18B8FFD7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74276" y="4151017"/>
              <a:ext cx="540363" cy="344552"/>
            </a:xfrm>
            <a:prstGeom prst="rect">
              <a:avLst/>
            </a:prstGeom>
          </p:spPr>
        </p:pic>
        <p:pic>
          <p:nvPicPr>
            <p:cNvPr id="514" name="Imagen 513">
              <a:extLst>
                <a:ext uri="{FF2B5EF4-FFF2-40B4-BE49-F238E27FC236}">
                  <a16:creationId xmlns:a16="http://schemas.microsoft.com/office/drawing/2014/main" id="{1737CDDE-E7E5-9BF3-B3AA-7027A6937B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22677" y="4151017"/>
              <a:ext cx="540363" cy="344552"/>
            </a:xfrm>
            <a:prstGeom prst="rect">
              <a:avLst/>
            </a:prstGeom>
          </p:spPr>
        </p:pic>
        <p:pic>
          <p:nvPicPr>
            <p:cNvPr id="515" name="Imagen 514">
              <a:extLst>
                <a:ext uri="{FF2B5EF4-FFF2-40B4-BE49-F238E27FC236}">
                  <a16:creationId xmlns:a16="http://schemas.microsoft.com/office/drawing/2014/main" id="{DB45D466-9A43-738A-591D-D165E94728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71078" y="4151017"/>
              <a:ext cx="540363" cy="344552"/>
            </a:xfrm>
            <a:prstGeom prst="rect">
              <a:avLst/>
            </a:prstGeom>
          </p:spPr>
        </p:pic>
        <p:pic>
          <p:nvPicPr>
            <p:cNvPr id="516" name="Imagen 515">
              <a:extLst>
                <a:ext uri="{FF2B5EF4-FFF2-40B4-BE49-F238E27FC236}">
                  <a16:creationId xmlns:a16="http://schemas.microsoft.com/office/drawing/2014/main" id="{B881256A-82F2-EBAB-009F-D6E31A414E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19479" y="4151017"/>
              <a:ext cx="540363" cy="344552"/>
            </a:xfrm>
            <a:prstGeom prst="rect">
              <a:avLst/>
            </a:prstGeom>
          </p:spPr>
        </p:pic>
        <p:pic>
          <p:nvPicPr>
            <p:cNvPr id="517" name="Imagen 516">
              <a:extLst>
                <a:ext uri="{FF2B5EF4-FFF2-40B4-BE49-F238E27FC236}">
                  <a16:creationId xmlns:a16="http://schemas.microsoft.com/office/drawing/2014/main" id="{B836D1A1-BCAC-D1B8-F561-7A8FFD73FD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67880" y="4151017"/>
              <a:ext cx="540363" cy="344552"/>
            </a:xfrm>
            <a:prstGeom prst="rect">
              <a:avLst/>
            </a:prstGeom>
          </p:spPr>
        </p:pic>
        <p:pic>
          <p:nvPicPr>
            <p:cNvPr id="518" name="Imagen 517">
              <a:extLst>
                <a:ext uri="{FF2B5EF4-FFF2-40B4-BE49-F238E27FC236}">
                  <a16:creationId xmlns:a16="http://schemas.microsoft.com/office/drawing/2014/main" id="{74F49089-FFC4-5C39-2BA7-4D2B148C3D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16281" y="4151017"/>
              <a:ext cx="540363" cy="344552"/>
            </a:xfrm>
            <a:prstGeom prst="rect">
              <a:avLst/>
            </a:prstGeom>
          </p:spPr>
        </p:pic>
        <p:pic>
          <p:nvPicPr>
            <p:cNvPr id="519" name="Imagen 518">
              <a:extLst>
                <a:ext uri="{FF2B5EF4-FFF2-40B4-BE49-F238E27FC236}">
                  <a16:creationId xmlns:a16="http://schemas.microsoft.com/office/drawing/2014/main" id="{33D0360B-6255-C9DA-2DF0-DC1CA272AA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64682" y="4151017"/>
              <a:ext cx="540363" cy="344552"/>
            </a:xfrm>
            <a:prstGeom prst="rect">
              <a:avLst/>
            </a:prstGeom>
          </p:spPr>
        </p:pic>
        <p:pic>
          <p:nvPicPr>
            <p:cNvPr id="520" name="Imagen 519">
              <a:extLst>
                <a:ext uri="{FF2B5EF4-FFF2-40B4-BE49-F238E27FC236}">
                  <a16:creationId xmlns:a16="http://schemas.microsoft.com/office/drawing/2014/main" id="{32EC3D10-F204-6EC6-299D-E4554B1BBC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13083" y="4151017"/>
              <a:ext cx="540363" cy="344552"/>
            </a:xfrm>
            <a:prstGeom prst="rect">
              <a:avLst/>
            </a:prstGeom>
          </p:spPr>
        </p:pic>
        <p:pic>
          <p:nvPicPr>
            <p:cNvPr id="521" name="Imagen 520">
              <a:extLst>
                <a:ext uri="{FF2B5EF4-FFF2-40B4-BE49-F238E27FC236}">
                  <a16:creationId xmlns:a16="http://schemas.microsoft.com/office/drawing/2014/main" id="{3F30E187-CB3E-32D4-6F3D-ABB798B2EF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61484" y="4151017"/>
              <a:ext cx="540363" cy="344552"/>
            </a:xfrm>
            <a:prstGeom prst="rect">
              <a:avLst/>
            </a:prstGeom>
          </p:spPr>
        </p:pic>
        <p:pic>
          <p:nvPicPr>
            <p:cNvPr id="522" name="Imagen 521">
              <a:extLst>
                <a:ext uri="{FF2B5EF4-FFF2-40B4-BE49-F238E27FC236}">
                  <a16:creationId xmlns:a16="http://schemas.microsoft.com/office/drawing/2014/main" id="{6420EBB4-3ED2-A6B3-8560-01B7CD00FD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09885" y="4151017"/>
              <a:ext cx="540363" cy="344552"/>
            </a:xfrm>
            <a:prstGeom prst="rect">
              <a:avLst/>
            </a:prstGeom>
          </p:spPr>
        </p:pic>
        <p:pic>
          <p:nvPicPr>
            <p:cNvPr id="523" name="Imagen 522">
              <a:extLst>
                <a:ext uri="{FF2B5EF4-FFF2-40B4-BE49-F238E27FC236}">
                  <a16:creationId xmlns:a16="http://schemas.microsoft.com/office/drawing/2014/main" id="{CF27F3DD-CF0F-107B-29BE-1086DBD548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58286" y="4151017"/>
              <a:ext cx="540363" cy="344552"/>
            </a:xfrm>
            <a:prstGeom prst="rect">
              <a:avLst/>
            </a:prstGeom>
          </p:spPr>
        </p:pic>
        <p:pic>
          <p:nvPicPr>
            <p:cNvPr id="524" name="Imagen 523">
              <a:extLst>
                <a:ext uri="{FF2B5EF4-FFF2-40B4-BE49-F238E27FC236}">
                  <a16:creationId xmlns:a16="http://schemas.microsoft.com/office/drawing/2014/main" id="{F127F8DB-3EC8-82BA-2CF0-E093E3E63C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06687" y="4151017"/>
              <a:ext cx="540363" cy="344552"/>
            </a:xfrm>
            <a:prstGeom prst="rect">
              <a:avLst/>
            </a:prstGeom>
          </p:spPr>
        </p:pic>
        <p:pic>
          <p:nvPicPr>
            <p:cNvPr id="525" name="Imagen 524">
              <a:extLst>
                <a:ext uri="{FF2B5EF4-FFF2-40B4-BE49-F238E27FC236}">
                  <a16:creationId xmlns:a16="http://schemas.microsoft.com/office/drawing/2014/main" id="{BB3A8FF5-1D94-6732-6DA8-652BCCEC2B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55088" y="4151017"/>
              <a:ext cx="540363" cy="344552"/>
            </a:xfrm>
            <a:prstGeom prst="rect">
              <a:avLst/>
            </a:prstGeom>
          </p:spPr>
        </p:pic>
        <p:pic>
          <p:nvPicPr>
            <p:cNvPr id="526" name="Imagen 525">
              <a:extLst>
                <a:ext uri="{FF2B5EF4-FFF2-40B4-BE49-F238E27FC236}">
                  <a16:creationId xmlns:a16="http://schemas.microsoft.com/office/drawing/2014/main" id="{2266EE2F-B719-522B-16DE-92697B3BFC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03489" y="4151017"/>
              <a:ext cx="540363" cy="344552"/>
            </a:xfrm>
            <a:prstGeom prst="rect">
              <a:avLst/>
            </a:prstGeom>
          </p:spPr>
        </p:pic>
        <p:pic>
          <p:nvPicPr>
            <p:cNvPr id="527" name="Imagen 526">
              <a:extLst>
                <a:ext uri="{FF2B5EF4-FFF2-40B4-BE49-F238E27FC236}">
                  <a16:creationId xmlns:a16="http://schemas.microsoft.com/office/drawing/2014/main" id="{671CE233-F976-0158-E8E8-5EC0FE70CC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51890" y="4151017"/>
              <a:ext cx="540363" cy="344552"/>
            </a:xfrm>
            <a:prstGeom prst="rect">
              <a:avLst/>
            </a:prstGeom>
          </p:spPr>
        </p:pic>
        <p:pic>
          <p:nvPicPr>
            <p:cNvPr id="528" name="Imagen 527">
              <a:extLst>
                <a:ext uri="{FF2B5EF4-FFF2-40B4-BE49-F238E27FC236}">
                  <a16:creationId xmlns:a16="http://schemas.microsoft.com/office/drawing/2014/main" id="{9BA52ABE-A35B-88E6-C244-F8201926686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00291" y="4151017"/>
              <a:ext cx="540363" cy="344552"/>
            </a:xfrm>
            <a:prstGeom prst="rect">
              <a:avLst/>
            </a:prstGeom>
          </p:spPr>
        </p:pic>
        <p:pic>
          <p:nvPicPr>
            <p:cNvPr id="529" name="Imagen 528">
              <a:extLst>
                <a:ext uri="{FF2B5EF4-FFF2-40B4-BE49-F238E27FC236}">
                  <a16:creationId xmlns:a16="http://schemas.microsoft.com/office/drawing/2014/main" id="{356AC001-DE94-0539-6443-43508255FB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48692" y="4151017"/>
              <a:ext cx="540363" cy="344552"/>
            </a:xfrm>
            <a:prstGeom prst="rect">
              <a:avLst/>
            </a:prstGeom>
          </p:spPr>
        </p:pic>
        <p:pic>
          <p:nvPicPr>
            <p:cNvPr id="530" name="Imagen 529">
              <a:extLst>
                <a:ext uri="{FF2B5EF4-FFF2-40B4-BE49-F238E27FC236}">
                  <a16:creationId xmlns:a16="http://schemas.microsoft.com/office/drawing/2014/main" id="{5877A70B-2ED9-4F63-4E4A-F4A9ADEF6D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97093" y="4151017"/>
              <a:ext cx="540363" cy="344552"/>
            </a:xfrm>
            <a:prstGeom prst="rect">
              <a:avLst/>
            </a:prstGeom>
          </p:spPr>
        </p:pic>
        <p:pic>
          <p:nvPicPr>
            <p:cNvPr id="531" name="Imagen 530">
              <a:extLst>
                <a:ext uri="{FF2B5EF4-FFF2-40B4-BE49-F238E27FC236}">
                  <a16:creationId xmlns:a16="http://schemas.microsoft.com/office/drawing/2014/main" id="{34A51296-373A-CBA6-FB6C-E2C9676D94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45494" y="4151017"/>
              <a:ext cx="540363" cy="344552"/>
            </a:xfrm>
            <a:prstGeom prst="rect">
              <a:avLst/>
            </a:prstGeom>
          </p:spPr>
        </p:pic>
        <p:pic>
          <p:nvPicPr>
            <p:cNvPr id="532" name="Imagen 531">
              <a:extLst>
                <a:ext uri="{FF2B5EF4-FFF2-40B4-BE49-F238E27FC236}">
                  <a16:creationId xmlns:a16="http://schemas.microsoft.com/office/drawing/2014/main" id="{9C52F7AD-DD3D-A929-108E-338501D66F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93895" y="4151017"/>
              <a:ext cx="540363" cy="344552"/>
            </a:xfrm>
            <a:prstGeom prst="rect">
              <a:avLst/>
            </a:prstGeom>
          </p:spPr>
        </p:pic>
        <p:pic>
          <p:nvPicPr>
            <p:cNvPr id="533" name="Imagen 532">
              <a:extLst>
                <a:ext uri="{FF2B5EF4-FFF2-40B4-BE49-F238E27FC236}">
                  <a16:creationId xmlns:a16="http://schemas.microsoft.com/office/drawing/2014/main" id="{37DC21D5-EDC4-D012-B2F7-C855F47D3C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42296" y="4151017"/>
              <a:ext cx="540363" cy="344552"/>
            </a:xfrm>
            <a:prstGeom prst="rect">
              <a:avLst/>
            </a:prstGeom>
          </p:spPr>
        </p:pic>
        <p:pic>
          <p:nvPicPr>
            <p:cNvPr id="534" name="Imagen 533">
              <a:extLst>
                <a:ext uri="{FF2B5EF4-FFF2-40B4-BE49-F238E27FC236}">
                  <a16:creationId xmlns:a16="http://schemas.microsoft.com/office/drawing/2014/main" id="{4267E321-5979-00B5-3A2B-680BE07222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90697" y="4151017"/>
              <a:ext cx="540363" cy="344552"/>
            </a:xfrm>
            <a:prstGeom prst="rect">
              <a:avLst/>
            </a:prstGeom>
          </p:spPr>
        </p:pic>
        <p:pic>
          <p:nvPicPr>
            <p:cNvPr id="535" name="Imagen 534">
              <a:extLst>
                <a:ext uri="{FF2B5EF4-FFF2-40B4-BE49-F238E27FC236}">
                  <a16:creationId xmlns:a16="http://schemas.microsoft.com/office/drawing/2014/main" id="{DF25BE1D-0C1B-EA10-07D9-D65FD6997E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39098" y="4151017"/>
              <a:ext cx="540363" cy="344552"/>
            </a:xfrm>
            <a:prstGeom prst="rect">
              <a:avLst/>
            </a:prstGeom>
          </p:spPr>
        </p:pic>
        <p:pic>
          <p:nvPicPr>
            <p:cNvPr id="536" name="Imagen 535">
              <a:extLst>
                <a:ext uri="{FF2B5EF4-FFF2-40B4-BE49-F238E27FC236}">
                  <a16:creationId xmlns:a16="http://schemas.microsoft.com/office/drawing/2014/main" id="{A3A3DBA2-72F4-D6B7-A5EB-F0461ADFCE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87499" y="4151017"/>
              <a:ext cx="540363" cy="344552"/>
            </a:xfrm>
            <a:prstGeom prst="rect">
              <a:avLst/>
            </a:prstGeom>
          </p:spPr>
        </p:pic>
        <p:pic>
          <p:nvPicPr>
            <p:cNvPr id="537" name="Imagen 536">
              <a:extLst>
                <a:ext uri="{FF2B5EF4-FFF2-40B4-BE49-F238E27FC236}">
                  <a16:creationId xmlns:a16="http://schemas.microsoft.com/office/drawing/2014/main" id="{E5625A12-A6BA-343A-4C10-515EFCA904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35900" y="4151017"/>
              <a:ext cx="540363" cy="344552"/>
            </a:xfrm>
            <a:prstGeom prst="rect">
              <a:avLst/>
            </a:prstGeom>
          </p:spPr>
        </p:pic>
        <p:pic>
          <p:nvPicPr>
            <p:cNvPr id="538" name="Imagen 537">
              <a:extLst>
                <a:ext uri="{FF2B5EF4-FFF2-40B4-BE49-F238E27FC236}">
                  <a16:creationId xmlns:a16="http://schemas.microsoft.com/office/drawing/2014/main" id="{285F0B1E-C2CE-67B9-BEB9-1CC8B8B933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84301" y="4151017"/>
              <a:ext cx="540363" cy="344552"/>
            </a:xfrm>
            <a:prstGeom prst="rect">
              <a:avLst/>
            </a:prstGeom>
          </p:spPr>
        </p:pic>
        <p:pic>
          <p:nvPicPr>
            <p:cNvPr id="539" name="Imagen 538">
              <a:extLst>
                <a:ext uri="{FF2B5EF4-FFF2-40B4-BE49-F238E27FC236}">
                  <a16:creationId xmlns:a16="http://schemas.microsoft.com/office/drawing/2014/main" id="{DA32837E-BCEA-5333-1703-29430D8DE6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32702" y="4151017"/>
              <a:ext cx="540363" cy="344552"/>
            </a:xfrm>
            <a:prstGeom prst="rect">
              <a:avLst/>
            </a:prstGeom>
          </p:spPr>
        </p:pic>
        <p:pic>
          <p:nvPicPr>
            <p:cNvPr id="540" name="Imagen 539">
              <a:extLst>
                <a:ext uri="{FF2B5EF4-FFF2-40B4-BE49-F238E27FC236}">
                  <a16:creationId xmlns:a16="http://schemas.microsoft.com/office/drawing/2014/main" id="{B91DBED0-3A34-9469-C344-1D832E3CA0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81103" y="4151017"/>
              <a:ext cx="540363" cy="344552"/>
            </a:xfrm>
            <a:prstGeom prst="rect">
              <a:avLst/>
            </a:prstGeom>
          </p:spPr>
        </p:pic>
        <p:pic>
          <p:nvPicPr>
            <p:cNvPr id="541" name="Imagen 540">
              <a:extLst>
                <a:ext uri="{FF2B5EF4-FFF2-40B4-BE49-F238E27FC236}">
                  <a16:creationId xmlns:a16="http://schemas.microsoft.com/office/drawing/2014/main" id="{9E806FB6-C64C-6DDA-1797-9D15824F43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29504" y="4151017"/>
              <a:ext cx="540363" cy="344552"/>
            </a:xfrm>
            <a:prstGeom prst="rect">
              <a:avLst/>
            </a:prstGeom>
          </p:spPr>
        </p:pic>
        <p:pic>
          <p:nvPicPr>
            <p:cNvPr id="542" name="Imagen 541">
              <a:extLst>
                <a:ext uri="{FF2B5EF4-FFF2-40B4-BE49-F238E27FC236}">
                  <a16:creationId xmlns:a16="http://schemas.microsoft.com/office/drawing/2014/main" id="{0D130A0A-C0D4-4640-53B5-C524DFE199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77905" y="4151017"/>
              <a:ext cx="540363" cy="344552"/>
            </a:xfrm>
            <a:prstGeom prst="rect">
              <a:avLst/>
            </a:prstGeom>
          </p:spPr>
        </p:pic>
        <p:pic>
          <p:nvPicPr>
            <p:cNvPr id="543" name="Imagen 542">
              <a:extLst>
                <a:ext uri="{FF2B5EF4-FFF2-40B4-BE49-F238E27FC236}">
                  <a16:creationId xmlns:a16="http://schemas.microsoft.com/office/drawing/2014/main" id="{45105690-DEFB-9C50-638E-E71F9B222D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26306" y="4151017"/>
              <a:ext cx="540363" cy="344552"/>
            </a:xfrm>
            <a:prstGeom prst="rect">
              <a:avLst/>
            </a:prstGeom>
          </p:spPr>
        </p:pic>
        <p:pic>
          <p:nvPicPr>
            <p:cNvPr id="544" name="Imagen 543">
              <a:extLst>
                <a:ext uri="{FF2B5EF4-FFF2-40B4-BE49-F238E27FC236}">
                  <a16:creationId xmlns:a16="http://schemas.microsoft.com/office/drawing/2014/main" id="{CB8D1317-EDC5-5CE7-FF1D-DFE3EF8484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74707" y="4151017"/>
              <a:ext cx="540363" cy="344552"/>
            </a:xfrm>
            <a:prstGeom prst="rect">
              <a:avLst/>
            </a:prstGeom>
          </p:spPr>
        </p:pic>
        <p:pic>
          <p:nvPicPr>
            <p:cNvPr id="545" name="Imagen 544">
              <a:extLst>
                <a:ext uri="{FF2B5EF4-FFF2-40B4-BE49-F238E27FC236}">
                  <a16:creationId xmlns:a16="http://schemas.microsoft.com/office/drawing/2014/main" id="{FC8E14E4-B26D-07DC-F17C-A27275474B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23108" y="4151017"/>
              <a:ext cx="540363" cy="344552"/>
            </a:xfrm>
            <a:prstGeom prst="rect">
              <a:avLst/>
            </a:prstGeom>
          </p:spPr>
        </p:pic>
        <p:pic>
          <p:nvPicPr>
            <p:cNvPr id="546" name="Imagen 545">
              <a:extLst>
                <a:ext uri="{FF2B5EF4-FFF2-40B4-BE49-F238E27FC236}">
                  <a16:creationId xmlns:a16="http://schemas.microsoft.com/office/drawing/2014/main" id="{8D373830-D175-A06A-AA5B-B7F38A79A2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71509" y="4151017"/>
              <a:ext cx="540363" cy="344552"/>
            </a:xfrm>
            <a:prstGeom prst="rect">
              <a:avLst/>
            </a:prstGeom>
          </p:spPr>
        </p:pic>
        <p:pic>
          <p:nvPicPr>
            <p:cNvPr id="547" name="Imagen 546">
              <a:extLst>
                <a:ext uri="{FF2B5EF4-FFF2-40B4-BE49-F238E27FC236}">
                  <a16:creationId xmlns:a16="http://schemas.microsoft.com/office/drawing/2014/main" id="{95E08685-75F1-0253-2CCB-FF514C268E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19910" y="4151017"/>
              <a:ext cx="540363" cy="344552"/>
            </a:xfrm>
            <a:prstGeom prst="rect">
              <a:avLst/>
            </a:prstGeom>
          </p:spPr>
        </p:pic>
        <p:pic>
          <p:nvPicPr>
            <p:cNvPr id="548" name="Imagen 547">
              <a:extLst>
                <a:ext uri="{FF2B5EF4-FFF2-40B4-BE49-F238E27FC236}">
                  <a16:creationId xmlns:a16="http://schemas.microsoft.com/office/drawing/2014/main" id="{155197B2-9CC8-429C-6CA6-E4A9F5C2B0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68311" y="4151017"/>
              <a:ext cx="540363" cy="344552"/>
            </a:xfrm>
            <a:prstGeom prst="rect">
              <a:avLst/>
            </a:prstGeom>
          </p:spPr>
        </p:pic>
        <p:pic>
          <p:nvPicPr>
            <p:cNvPr id="549" name="Imagen 548">
              <a:extLst>
                <a:ext uri="{FF2B5EF4-FFF2-40B4-BE49-F238E27FC236}">
                  <a16:creationId xmlns:a16="http://schemas.microsoft.com/office/drawing/2014/main" id="{F4DF5725-9866-69D4-8331-DDDE684DFA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16712" y="4151017"/>
              <a:ext cx="540363" cy="344552"/>
            </a:xfrm>
            <a:prstGeom prst="rect">
              <a:avLst/>
            </a:prstGeom>
          </p:spPr>
        </p:pic>
        <p:pic>
          <p:nvPicPr>
            <p:cNvPr id="550" name="Imagen 549">
              <a:extLst>
                <a:ext uri="{FF2B5EF4-FFF2-40B4-BE49-F238E27FC236}">
                  <a16:creationId xmlns:a16="http://schemas.microsoft.com/office/drawing/2014/main" id="{22113230-2FF5-A559-502F-8C6B3A3BF2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65113" y="4151017"/>
              <a:ext cx="540363" cy="344552"/>
            </a:xfrm>
            <a:prstGeom prst="rect">
              <a:avLst/>
            </a:prstGeom>
          </p:spPr>
        </p:pic>
        <p:pic>
          <p:nvPicPr>
            <p:cNvPr id="551" name="Imagen 550">
              <a:extLst>
                <a:ext uri="{FF2B5EF4-FFF2-40B4-BE49-F238E27FC236}">
                  <a16:creationId xmlns:a16="http://schemas.microsoft.com/office/drawing/2014/main" id="{0EFB14FB-FF68-B4E1-CF92-13BAC6715B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13514" y="4151017"/>
              <a:ext cx="540363" cy="344552"/>
            </a:xfrm>
            <a:prstGeom prst="rect">
              <a:avLst/>
            </a:prstGeom>
          </p:spPr>
        </p:pic>
        <p:pic>
          <p:nvPicPr>
            <p:cNvPr id="552" name="Imagen 551">
              <a:extLst>
                <a:ext uri="{FF2B5EF4-FFF2-40B4-BE49-F238E27FC236}">
                  <a16:creationId xmlns:a16="http://schemas.microsoft.com/office/drawing/2014/main" id="{0737E521-D87E-7F33-0BF6-0471CCFFB6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61915" y="4151017"/>
              <a:ext cx="540363" cy="344552"/>
            </a:xfrm>
            <a:prstGeom prst="rect">
              <a:avLst/>
            </a:prstGeom>
          </p:spPr>
        </p:pic>
        <p:pic>
          <p:nvPicPr>
            <p:cNvPr id="553" name="Imagen 552">
              <a:extLst>
                <a:ext uri="{FF2B5EF4-FFF2-40B4-BE49-F238E27FC236}">
                  <a16:creationId xmlns:a16="http://schemas.microsoft.com/office/drawing/2014/main" id="{5CE6B185-E531-98EB-F934-3FA6D5808C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10316" y="4151017"/>
              <a:ext cx="540363" cy="344552"/>
            </a:xfrm>
            <a:prstGeom prst="rect">
              <a:avLst/>
            </a:prstGeom>
          </p:spPr>
        </p:pic>
        <p:pic>
          <p:nvPicPr>
            <p:cNvPr id="554" name="Imagen 553">
              <a:extLst>
                <a:ext uri="{FF2B5EF4-FFF2-40B4-BE49-F238E27FC236}">
                  <a16:creationId xmlns:a16="http://schemas.microsoft.com/office/drawing/2014/main" id="{F7C0A9CD-C70D-AE7A-44FE-EE1A2D96EC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58717" y="4151017"/>
              <a:ext cx="540363" cy="344552"/>
            </a:xfrm>
            <a:prstGeom prst="rect">
              <a:avLst/>
            </a:prstGeom>
          </p:spPr>
        </p:pic>
        <p:pic>
          <p:nvPicPr>
            <p:cNvPr id="555" name="Imagen 554">
              <a:extLst>
                <a:ext uri="{FF2B5EF4-FFF2-40B4-BE49-F238E27FC236}">
                  <a16:creationId xmlns:a16="http://schemas.microsoft.com/office/drawing/2014/main" id="{389E7F9E-04B0-10D3-EACA-0EAC4C5D65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07118" y="4151017"/>
              <a:ext cx="540363" cy="344552"/>
            </a:xfrm>
            <a:prstGeom prst="rect">
              <a:avLst/>
            </a:prstGeom>
          </p:spPr>
        </p:pic>
        <p:pic>
          <p:nvPicPr>
            <p:cNvPr id="556" name="Imagen 555">
              <a:extLst>
                <a:ext uri="{FF2B5EF4-FFF2-40B4-BE49-F238E27FC236}">
                  <a16:creationId xmlns:a16="http://schemas.microsoft.com/office/drawing/2014/main" id="{D576D9EA-A312-2F04-41E3-C4856D3079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55519" y="4151017"/>
              <a:ext cx="540363" cy="344552"/>
            </a:xfrm>
            <a:prstGeom prst="rect">
              <a:avLst/>
            </a:prstGeom>
          </p:spPr>
        </p:pic>
        <p:pic>
          <p:nvPicPr>
            <p:cNvPr id="557" name="Imagen 556">
              <a:extLst>
                <a:ext uri="{FF2B5EF4-FFF2-40B4-BE49-F238E27FC236}">
                  <a16:creationId xmlns:a16="http://schemas.microsoft.com/office/drawing/2014/main" id="{BC07677C-950B-AC98-3841-E636D2E6B1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03920" y="4151017"/>
              <a:ext cx="540363" cy="344552"/>
            </a:xfrm>
            <a:prstGeom prst="rect">
              <a:avLst/>
            </a:prstGeom>
          </p:spPr>
        </p:pic>
        <p:pic>
          <p:nvPicPr>
            <p:cNvPr id="558" name="Imagen 557">
              <a:extLst>
                <a:ext uri="{FF2B5EF4-FFF2-40B4-BE49-F238E27FC236}">
                  <a16:creationId xmlns:a16="http://schemas.microsoft.com/office/drawing/2014/main" id="{9F9DF3E1-B10E-8722-1579-F93A4F6E26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52321" y="4151017"/>
              <a:ext cx="540363" cy="344552"/>
            </a:xfrm>
            <a:prstGeom prst="rect">
              <a:avLst/>
            </a:prstGeom>
          </p:spPr>
        </p:pic>
        <p:pic>
          <p:nvPicPr>
            <p:cNvPr id="559" name="Imagen 558">
              <a:extLst>
                <a:ext uri="{FF2B5EF4-FFF2-40B4-BE49-F238E27FC236}">
                  <a16:creationId xmlns:a16="http://schemas.microsoft.com/office/drawing/2014/main" id="{C912486C-F1E6-A4EF-6CED-D6148EDF41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00722" y="4151017"/>
              <a:ext cx="540363" cy="344552"/>
            </a:xfrm>
            <a:prstGeom prst="rect">
              <a:avLst/>
            </a:prstGeom>
          </p:spPr>
        </p:pic>
        <p:pic>
          <p:nvPicPr>
            <p:cNvPr id="560" name="Imagen 559">
              <a:extLst>
                <a:ext uri="{FF2B5EF4-FFF2-40B4-BE49-F238E27FC236}">
                  <a16:creationId xmlns:a16="http://schemas.microsoft.com/office/drawing/2014/main" id="{A44A98F5-9DC1-94B0-7E66-78CAB8E46E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49123" y="4151017"/>
              <a:ext cx="540363" cy="344552"/>
            </a:xfrm>
            <a:prstGeom prst="rect">
              <a:avLst/>
            </a:prstGeom>
          </p:spPr>
        </p:pic>
        <p:pic>
          <p:nvPicPr>
            <p:cNvPr id="561" name="Imagen 560">
              <a:extLst>
                <a:ext uri="{FF2B5EF4-FFF2-40B4-BE49-F238E27FC236}">
                  <a16:creationId xmlns:a16="http://schemas.microsoft.com/office/drawing/2014/main" id="{B0796676-65A9-07F0-8BCE-82CB91306D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97524" y="4151017"/>
              <a:ext cx="540363" cy="344552"/>
            </a:xfrm>
            <a:prstGeom prst="rect">
              <a:avLst/>
            </a:prstGeom>
          </p:spPr>
        </p:pic>
        <p:pic>
          <p:nvPicPr>
            <p:cNvPr id="562" name="Imagen 561">
              <a:extLst>
                <a:ext uri="{FF2B5EF4-FFF2-40B4-BE49-F238E27FC236}">
                  <a16:creationId xmlns:a16="http://schemas.microsoft.com/office/drawing/2014/main" id="{F4B49840-EC8D-9FB5-E4A0-4BF37CDD93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45925" y="4151017"/>
              <a:ext cx="540363" cy="344552"/>
            </a:xfrm>
            <a:prstGeom prst="rect">
              <a:avLst/>
            </a:prstGeom>
          </p:spPr>
        </p:pic>
        <p:pic>
          <p:nvPicPr>
            <p:cNvPr id="563" name="Imagen 562">
              <a:extLst>
                <a:ext uri="{FF2B5EF4-FFF2-40B4-BE49-F238E27FC236}">
                  <a16:creationId xmlns:a16="http://schemas.microsoft.com/office/drawing/2014/main" id="{F7012206-95FF-2ED9-E530-EC5919F275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590272" y="3637612"/>
              <a:ext cx="540363" cy="344552"/>
            </a:xfrm>
            <a:prstGeom prst="rect">
              <a:avLst/>
            </a:prstGeom>
          </p:spPr>
        </p:pic>
        <p:pic>
          <p:nvPicPr>
            <p:cNvPr id="564" name="Imagen 563">
              <a:extLst>
                <a:ext uri="{FF2B5EF4-FFF2-40B4-BE49-F238E27FC236}">
                  <a16:creationId xmlns:a16="http://schemas.microsoft.com/office/drawing/2014/main" id="{AB8DF16A-96E9-7EA2-BD28-CB1969C5EE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639302" y="3637612"/>
              <a:ext cx="540363" cy="344552"/>
            </a:xfrm>
            <a:prstGeom prst="rect">
              <a:avLst/>
            </a:prstGeom>
          </p:spPr>
        </p:pic>
        <p:pic>
          <p:nvPicPr>
            <p:cNvPr id="565" name="Imagen 564">
              <a:extLst>
                <a:ext uri="{FF2B5EF4-FFF2-40B4-BE49-F238E27FC236}">
                  <a16:creationId xmlns:a16="http://schemas.microsoft.com/office/drawing/2014/main" id="{33BDBF11-BFA9-BEE2-910E-3C8A9DD17E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688332" y="3637612"/>
              <a:ext cx="540363" cy="344552"/>
            </a:xfrm>
            <a:prstGeom prst="rect">
              <a:avLst/>
            </a:prstGeom>
          </p:spPr>
        </p:pic>
        <p:pic>
          <p:nvPicPr>
            <p:cNvPr id="566" name="Imagen 565">
              <a:extLst>
                <a:ext uri="{FF2B5EF4-FFF2-40B4-BE49-F238E27FC236}">
                  <a16:creationId xmlns:a16="http://schemas.microsoft.com/office/drawing/2014/main" id="{E6761003-568D-4B5E-78E0-4B425E2B91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737362" y="3637612"/>
              <a:ext cx="540363" cy="344552"/>
            </a:xfrm>
            <a:prstGeom prst="rect">
              <a:avLst/>
            </a:prstGeom>
          </p:spPr>
        </p:pic>
        <p:pic>
          <p:nvPicPr>
            <p:cNvPr id="567" name="Imagen 566">
              <a:extLst>
                <a:ext uri="{FF2B5EF4-FFF2-40B4-BE49-F238E27FC236}">
                  <a16:creationId xmlns:a16="http://schemas.microsoft.com/office/drawing/2014/main" id="{4A0705E1-A31D-88E2-3FB2-8DBB9C8025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786392" y="3637612"/>
              <a:ext cx="540363" cy="344552"/>
            </a:xfrm>
            <a:prstGeom prst="rect">
              <a:avLst/>
            </a:prstGeom>
          </p:spPr>
        </p:pic>
        <p:pic>
          <p:nvPicPr>
            <p:cNvPr id="568" name="Imagen 567">
              <a:extLst>
                <a:ext uri="{FF2B5EF4-FFF2-40B4-BE49-F238E27FC236}">
                  <a16:creationId xmlns:a16="http://schemas.microsoft.com/office/drawing/2014/main" id="{49087427-D232-1F34-81B1-639E70F9E9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835422" y="3637612"/>
              <a:ext cx="540363" cy="344552"/>
            </a:xfrm>
            <a:prstGeom prst="rect">
              <a:avLst/>
            </a:prstGeom>
          </p:spPr>
        </p:pic>
        <p:pic>
          <p:nvPicPr>
            <p:cNvPr id="569" name="Imagen 568">
              <a:extLst>
                <a:ext uri="{FF2B5EF4-FFF2-40B4-BE49-F238E27FC236}">
                  <a16:creationId xmlns:a16="http://schemas.microsoft.com/office/drawing/2014/main" id="{97EE7610-4F05-7D9B-B7B7-B3982DD807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884452" y="3637612"/>
              <a:ext cx="540363" cy="344552"/>
            </a:xfrm>
            <a:prstGeom prst="rect">
              <a:avLst/>
            </a:prstGeom>
          </p:spPr>
        </p:pic>
        <p:pic>
          <p:nvPicPr>
            <p:cNvPr id="570" name="Imagen 569">
              <a:extLst>
                <a:ext uri="{FF2B5EF4-FFF2-40B4-BE49-F238E27FC236}">
                  <a16:creationId xmlns:a16="http://schemas.microsoft.com/office/drawing/2014/main" id="{764207E9-1E02-A015-6632-82F13257EC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933482" y="3637612"/>
              <a:ext cx="540363" cy="344552"/>
            </a:xfrm>
            <a:prstGeom prst="rect">
              <a:avLst/>
            </a:prstGeom>
          </p:spPr>
        </p:pic>
        <p:pic>
          <p:nvPicPr>
            <p:cNvPr id="571" name="Imagen 570">
              <a:extLst>
                <a:ext uri="{FF2B5EF4-FFF2-40B4-BE49-F238E27FC236}">
                  <a16:creationId xmlns:a16="http://schemas.microsoft.com/office/drawing/2014/main" id="{F55B450A-AB2A-8FFE-2F52-88B31FF65B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982512" y="3637612"/>
              <a:ext cx="540363" cy="344552"/>
            </a:xfrm>
            <a:prstGeom prst="rect">
              <a:avLst/>
            </a:prstGeom>
          </p:spPr>
        </p:pic>
        <p:pic>
          <p:nvPicPr>
            <p:cNvPr id="572" name="Imagen 571">
              <a:extLst>
                <a:ext uri="{FF2B5EF4-FFF2-40B4-BE49-F238E27FC236}">
                  <a16:creationId xmlns:a16="http://schemas.microsoft.com/office/drawing/2014/main" id="{D119CCAA-5102-98A2-BC88-E42DF9EC20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031542" y="3637612"/>
              <a:ext cx="540363" cy="344552"/>
            </a:xfrm>
            <a:prstGeom prst="rect">
              <a:avLst/>
            </a:prstGeom>
          </p:spPr>
        </p:pic>
        <p:pic>
          <p:nvPicPr>
            <p:cNvPr id="573" name="Imagen 572">
              <a:extLst>
                <a:ext uri="{FF2B5EF4-FFF2-40B4-BE49-F238E27FC236}">
                  <a16:creationId xmlns:a16="http://schemas.microsoft.com/office/drawing/2014/main" id="{280FFACF-6AD0-EFB8-C0F3-673649CC7A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080572" y="3637612"/>
              <a:ext cx="540363" cy="344552"/>
            </a:xfrm>
            <a:prstGeom prst="rect">
              <a:avLst/>
            </a:prstGeom>
          </p:spPr>
        </p:pic>
        <p:pic>
          <p:nvPicPr>
            <p:cNvPr id="574" name="Imagen 573">
              <a:extLst>
                <a:ext uri="{FF2B5EF4-FFF2-40B4-BE49-F238E27FC236}">
                  <a16:creationId xmlns:a16="http://schemas.microsoft.com/office/drawing/2014/main" id="{E099E209-7735-51A9-1153-001DFE7F0E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129602" y="3637612"/>
              <a:ext cx="540363" cy="344552"/>
            </a:xfrm>
            <a:prstGeom prst="rect">
              <a:avLst/>
            </a:prstGeom>
          </p:spPr>
        </p:pic>
        <p:pic>
          <p:nvPicPr>
            <p:cNvPr id="575" name="Imagen 574">
              <a:extLst>
                <a:ext uri="{FF2B5EF4-FFF2-40B4-BE49-F238E27FC236}">
                  <a16:creationId xmlns:a16="http://schemas.microsoft.com/office/drawing/2014/main" id="{852100FF-CBF4-0A8D-5333-3F2B2322AF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178632" y="3637612"/>
              <a:ext cx="540363" cy="344552"/>
            </a:xfrm>
            <a:prstGeom prst="rect">
              <a:avLst/>
            </a:prstGeom>
          </p:spPr>
        </p:pic>
        <p:pic>
          <p:nvPicPr>
            <p:cNvPr id="576" name="Imagen 575">
              <a:extLst>
                <a:ext uri="{FF2B5EF4-FFF2-40B4-BE49-F238E27FC236}">
                  <a16:creationId xmlns:a16="http://schemas.microsoft.com/office/drawing/2014/main" id="{97D85DE9-F845-6CA7-EC80-FC66B5C260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227662" y="3637612"/>
              <a:ext cx="540363" cy="344552"/>
            </a:xfrm>
            <a:prstGeom prst="rect">
              <a:avLst/>
            </a:prstGeom>
          </p:spPr>
        </p:pic>
        <p:pic>
          <p:nvPicPr>
            <p:cNvPr id="577" name="Imagen 576">
              <a:extLst>
                <a:ext uri="{FF2B5EF4-FFF2-40B4-BE49-F238E27FC236}">
                  <a16:creationId xmlns:a16="http://schemas.microsoft.com/office/drawing/2014/main" id="{CBA03500-3ABC-938B-6227-9D2B417FC9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276692" y="3637612"/>
              <a:ext cx="540363" cy="344552"/>
            </a:xfrm>
            <a:prstGeom prst="rect">
              <a:avLst/>
            </a:prstGeom>
          </p:spPr>
        </p:pic>
        <p:pic>
          <p:nvPicPr>
            <p:cNvPr id="578" name="Imagen 577">
              <a:extLst>
                <a:ext uri="{FF2B5EF4-FFF2-40B4-BE49-F238E27FC236}">
                  <a16:creationId xmlns:a16="http://schemas.microsoft.com/office/drawing/2014/main" id="{D647219C-356E-1A0E-B696-86186CC43C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325722" y="3637612"/>
              <a:ext cx="540363" cy="344552"/>
            </a:xfrm>
            <a:prstGeom prst="rect">
              <a:avLst/>
            </a:prstGeom>
          </p:spPr>
        </p:pic>
        <p:pic>
          <p:nvPicPr>
            <p:cNvPr id="579" name="Imagen 578">
              <a:extLst>
                <a:ext uri="{FF2B5EF4-FFF2-40B4-BE49-F238E27FC236}">
                  <a16:creationId xmlns:a16="http://schemas.microsoft.com/office/drawing/2014/main" id="{F0CAC39B-4823-9B90-B76B-1B3F831B47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374752" y="3637612"/>
              <a:ext cx="540363" cy="344552"/>
            </a:xfrm>
            <a:prstGeom prst="rect">
              <a:avLst/>
            </a:prstGeom>
          </p:spPr>
        </p:pic>
        <p:pic>
          <p:nvPicPr>
            <p:cNvPr id="580" name="Imagen 579">
              <a:extLst>
                <a:ext uri="{FF2B5EF4-FFF2-40B4-BE49-F238E27FC236}">
                  <a16:creationId xmlns:a16="http://schemas.microsoft.com/office/drawing/2014/main" id="{F4F089B8-ED62-7D3A-3343-6929DE39A4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423782" y="3637612"/>
              <a:ext cx="540363" cy="344552"/>
            </a:xfrm>
            <a:prstGeom prst="rect">
              <a:avLst/>
            </a:prstGeom>
          </p:spPr>
        </p:pic>
        <p:pic>
          <p:nvPicPr>
            <p:cNvPr id="581" name="Imagen 580">
              <a:extLst>
                <a:ext uri="{FF2B5EF4-FFF2-40B4-BE49-F238E27FC236}">
                  <a16:creationId xmlns:a16="http://schemas.microsoft.com/office/drawing/2014/main" id="{4720A4D1-C593-1C6E-0184-7649CED711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472812" y="3637612"/>
              <a:ext cx="540363" cy="344552"/>
            </a:xfrm>
            <a:prstGeom prst="rect">
              <a:avLst/>
            </a:prstGeom>
          </p:spPr>
        </p:pic>
        <p:pic>
          <p:nvPicPr>
            <p:cNvPr id="582" name="Imagen 581">
              <a:extLst>
                <a:ext uri="{FF2B5EF4-FFF2-40B4-BE49-F238E27FC236}">
                  <a16:creationId xmlns:a16="http://schemas.microsoft.com/office/drawing/2014/main" id="{7ED2CD83-03F1-65C0-C4A1-AB638B7BC2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21842" y="3637612"/>
              <a:ext cx="540363" cy="344552"/>
            </a:xfrm>
            <a:prstGeom prst="rect">
              <a:avLst/>
            </a:prstGeom>
          </p:spPr>
        </p:pic>
        <p:pic>
          <p:nvPicPr>
            <p:cNvPr id="583" name="Imagen 582">
              <a:extLst>
                <a:ext uri="{FF2B5EF4-FFF2-40B4-BE49-F238E27FC236}">
                  <a16:creationId xmlns:a16="http://schemas.microsoft.com/office/drawing/2014/main" id="{406B3CEB-D530-D7D7-295D-5E673A7F9F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70872" y="3637612"/>
              <a:ext cx="540363" cy="344552"/>
            </a:xfrm>
            <a:prstGeom prst="rect">
              <a:avLst/>
            </a:prstGeom>
          </p:spPr>
        </p:pic>
        <p:pic>
          <p:nvPicPr>
            <p:cNvPr id="584" name="Imagen 583">
              <a:extLst>
                <a:ext uri="{FF2B5EF4-FFF2-40B4-BE49-F238E27FC236}">
                  <a16:creationId xmlns:a16="http://schemas.microsoft.com/office/drawing/2014/main" id="{658E40AE-2FC9-EF12-83DC-710C76E0DE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619902" y="3637612"/>
              <a:ext cx="540363" cy="344552"/>
            </a:xfrm>
            <a:prstGeom prst="rect">
              <a:avLst/>
            </a:prstGeom>
          </p:spPr>
        </p:pic>
        <p:pic>
          <p:nvPicPr>
            <p:cNvPr id="585" name="Imagen 584">
              <a:extLst>
                <a:ext uri="{FF2B5EF4-FFF2-40B4-BE49-F238E27FC236}">
                  <a16:creationId xmlns:a16="http://schemas.microsoft.com/office/drawing/2014/main" id="{9998AD59-FE9E-86E1-D080-8E26F58D69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668932" y="3637612"/>
              <a:ext cx="540363" cy="344552"/>
            </a:xfrm>
            <a:prstGeom prst="rect">
              <a:avLst/>
            </a:prstGeom>
          </p:spPr>
        </p:pic>
        <p:pic>
          <p:nvPicPr>
            <p:cNvPr id="586" name="Imagen 585">
              <a:extLst>
                <a:ext uri="{FF2B5EF4-FFF2-40B4-BE49-F238E27FC236}">
                  <a16:creationId xmlns:a16="http://schemas.microsoft.com/office/drawing/2014/main" id="{7F47ECEF-2B3F-4E6F-3BFB-8A7F0DFFD0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17962" y="3637612"/>
              <a:ext cx="540363" cy="344552"/>
            </a:xfrm>
            <a:prstGeom prst="rect">
              <a:avLst/>
            </a:prstGeom>
          </p:spPr>
        </p:pic>
        <p:pic>
          <p:nvPicPr>
            <p:cNvPr id="587" name="Imagen 586">
              <a:extLst>
                <a:ext uri="{FF2B5EF4-FFF2-40B4-BE49-F238E27FC236}">
                  <a16:creationId xmlns:a16="http://schemas.microsoft.com/office/drawing/2014/main" id="{041F3479-099D-F839-0159-916F3580B1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66992" y="3637612"/>
              <a:ext cx="540363" cy="344552"/>
            </a:xfrm>
            <a:prstGeom prst="rect">
              <a:avLst/>
            </a:prstGeom>
          </p:spPr>
        </p:pic>
        <p:pic>
          <p:nvPicPr>
            <p:cNvPr id="588" name="Imagen 587">
              <a:extLst>
                <a:ext uri="{FF2B5EF4-FFF2-40B4-BE49-F238E27FC236}">
                  <a16:creationId xmlns:a16="http://schemas.microsoft.com/office/drawing/2014/main" id="{F5AB9813-427E-9D03-C63D-539EC90936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816022" y="3637612"/>
              <a:ext cx="540363" cy="344552"/>
            </a:xfrm>
            <a:prstGeom prst="rect">
              <a:avLst/>
            </a:prstGeom>
          </p:spPr>
        </p:pic>
        <p:pic>
          <p:nvPicPr>
            <p:cNvPr id="589" name="Imagen 588">
              <a:extLst>
                <a:ext uri="{FF2B5EF4-FFF2-40B4-BE49-F238E27FC236}">
                  <a16:creationId xmlns:a16="http://schemas.microsoft.com/office/drawing/2014/main" id="{9094EB2E-AB5E-852D-C99C-61EDC3FC7C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865052" y="3637612"/>
              <a:ext cx="540363" cy="344552"/>
            </a:xfrm>
            <a:prstGeom prst="rect">
              <a:avLst/>
            </a:prstGeom>
          </p:spPr>
        </p:pic>
        <p:pic>
          <p:nvPicPr>
            <p:cNvPr id="590" name="Imagen 589">
              <a:extLst>
                <a:ext uri="{FF2B5EF4-FFF2-40B4-BE49-F238E27FC236}">
                  <a16:creationId xmlns:a16="http://schemas.microsoft.com/office/drawing/2014/main" id="{B7AF8C4D-86AF-18A7-FA14-83FFA01438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914082" y="3637612"/>
              <a:ext cx="540363" cy="344552"/>
            </a:xfrm>
            <a:prstGeom prst="rect">
              <a:avLst/>
            </a:prstGeom>
          </p:spPr>
        </p:pic>
        <p:pic>
          <p:nvPicPr>
            <p:cNvPr id="591" name="Imagen 590">
              <a:extLst>
                <a:ext uri="{FF2B5EF4-FFF2-40B4-BE49-F238E27FC236}">
                  <a16:creationId xmlns:a16="http://schemas.microsoft.com/office/drawing/2014/main" id="{983C021A-B119-38D1-9311-C8305D16C7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963112" y="3637612"/>
              <a:ext cx="540363" cy="344552"/>
            </a:xfrm>
            <a:prstGeom prst="rect">
              <a:avLst/>
            </a:prstGeom>
          </p:spPr>
        </p:pic>
        <p:pic>
          <p:nvPicPr>
            <p:cNvPr id="592" name="Imagen 591">
              <a:extLst>
                <a:ext uri="{FF2B5EF4-FFF2-40B4-BE49-F238E27FC236}">
                  <a16:creationId xmlns:a16="http://schemas.microsoft.com/office/drawing/2014/main" id="{34E3647A-7B2B-7A4C-97CD-38835DA048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012142" y="3637612"/>
              <a:ext cx="540363" cy="344552"/>
            </a:xfrm>
            <a:prstGeom prst="rect">
              <a:avLst/>
            </a:prstGeom>
          </p:spPr>
        </p:pic>
        <p:pic>
          <p:nvPicPr>
            <p:cNvPr id="593" name="Imagen 592">
              <a:extLst>
                <a:ext uri="{FF2B5EF4-FFF2-40B4-BE49-F238E27FC236}">
                  <a16:creationId xmlns:a16="http://schemas.microsoft.com/office/drawing/2014/main" id="{DD8062D9-05CB-57F7-B6A6-241AEB26AD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061172" y="3637612"/>
              <a:ext cx="540363" cy="344552"/>
            </a:xfrm>
            <a:prstGeom prst="rect">
              <a:avLst/>
            </a:prstGeom>
          </p:spPr>
        </p:pic>
        <p:pic>
          <p:nvPicPr>
            <p:cNvPr id="594" name="Imagen 593">
              <a:extLst>
                <a:ext uri="{FF2B5EF4-FFF2-40B4-BE49-F238E27FC236}">
                  <a16:creationId xmlns:a16="http://schemas.microsoft.com/office/drawing/2014/main" id="{2AC14123-C98E-B690-E346-174F24662B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110202" y="3637612"/>
              <a:ext cx="540363" cy="344552"/>
            </a:xfrm>
            <a:prstGeom prst="rect">
              <a:avLst/>
            </a:prstGeom>
          </p:spPr>
        </p:pic>
        <p:pic>
          <p:nvPicPr>
            <p:cNvPr id="595" name="Imagen 594">
              <a:extLst>
                <a:ext uri="{FF2B5EF4-FFF2-40B4-BE49-F238E27FC236}">
                  <a16:creationId xmlns:a16="http://schemas.microsoft.com/office/drawing/2014/main" id="{C46F2BE2-D8AE-F72C-5DF1-D267CEC26D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159232" y="3637612"/>
              <a:ext cx="540363" cy="344552"/>
            </a:xfrm>
            <a:prstGeom prst="rect">
              <a:avLst/>
            </a:prstGeom>
          </p:spPr>
        </p:pic>
        <p:pic>
          <p:nvPicPr>
            <p:cNvPr id="596" name="Imagen 595">
              <a:extLst>
                <a:ext uri="{FF2B5EF4-FFF2-40B4-BE49-F238E27FC236}">
                  <a16:creationId xmlns:a16="http://schemas.microsoft.com/office/drawing/2014/main" id="{45AA8F5A-1BC9-DE9C-7D60-7FA71BE81E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208262" y="3637612"/>
              <a:ext cx="540363" cy="344552"/>
            </a:xfrm>
            <a:prstGeom prst="rect">
              <a:avLst/>
            </a:prstGeom>
          </p:spPr>
        </p:pic>
        <p:pic>
          <p:nvPicPr>
            <p:cNvPr id="597" name="Imagen 596">
              <a:extLst>
                <a:ext uri="{FF2B5EF4-FFF2-40B4-BE49-F238E27FC236}">
                  <a16:creationId xmlns:a16="http://schemas.microsoft.com/office/drawing/2014/main" id="{34F43AED-F23A-50D5-391A-CC3A4548E1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257292" y="3637612"/>
              <a:ext cx="540363" cy="344552"/>
            </a:xfrm>
            <a:prstGeom prst="rect">
              <a:avLst/>
            </a:prstGeom>
          </p:spPr>
        </p:pic>
        <p:pic>
          <p:nvPicPr>
            <p:cNvPr id="598" name="Imagen 597">
              <a:extLst>
                <a:ext uri="{FF2B5EF4-FFF2-40B4-BE49-F238E27FC236}">
                  <a16:creationId xmlns:a16="http://schemas.microsoft.com/office/drawing/2014/main" id="{1E817C65-0BF8-22B9-F253-D401E9FE3D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06322" y="3637612"/>
              <a:ext cx="540363" cy="344552"/>
            </a:xfrm>
            <a:prstGeom prst="rect">
              <a:avLst/>
            </a:prstGeom>
          </p:spPr>
        </p:pic>
        <p:pic>
          <p:nvPicPr>
            <p:cNvPr id="599" name="Imagen 598">
              <a:extLst>
                <a:ext uri="{FF2B5EF4-FFF2-40B4-BE49-F238E27FC236}">
                  <a16:creationId xmlns:a16="http://schemas.microsoft.com/office/drawing/2014/main" id="{461B6966-81E6-8A56-7E48-C4F49A10D9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55352" y="3637612"/>
              <a:ext cx="540363" cy="344552"/>
            </a:xfrm>
            <a:prstGeom prst="rect">
              <a:avLst/>
            </a:prstGeom>
          </p:spPr>
        </p:pic>
        <p:pic>
          <p:nvPicPr>
            <p:cNvPr id="600" name="Imagen 599">
              <a:extLst>
                <a:ext uri="{FF2B5EF4-FFF2-40B4-BE49-F238E27FC236}">
                  <a16:creationId xmlns:a16="http://schemas.microsoft.com/office/drawing/2014/main" id="{0E4F6E23-92C6-D49A-FD63-53E29D1E9F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04382" y="3637612"/>
              <a:ext cx="540363" cy="344552"/>
            </a:xfrm>
            <a:prstGeom prst="rect">
              <a:avLst/>
            </a:prstGeom>
          </p:spPr>
        </p:pic>
        <p:pic>
          <p:nvPicPr>
            <p:cNvPr id="601" name="Imagen 600">
              <a:extLst>
                <a:ext uri="{FF2B5EF4-FFF2-40B4-BE49-F238E27FC236}">
                  <a16:creationId xmlns:a16="http://schemas.microsoft.com/office/drawing/2014/main" id="{CF3FFAB9-D427-5CCA-4CD4-3755BE72D4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53412" y="3637612"/>
              <a:ext cx="540363" cy="344552"/>
            </a:xfrm>
            <a:prstGeom prst="rect">
              <a:avLst/>
            </a:prstGeom>
          </p:spPr>
        </p:pic>
        <p:pic>
          <p:nvPicPr>
            <p:cNvPr id="602" name="Imagen 601">
              <a:extLst>
                <a:ext uri="{FF2B5EF4-FFF2-40B4-BE49-F238E27FC236}">
                  <a16:creationId xmlns:a16="http://schemas.microsoft.com/office/drawing/2014/main" id="{F1299A21-B519-33B5-A2A3-4D73B2CD53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02442" y="3637612"/>
              <a:ext cx="540363" cy="344552"/>
            </a:xfrm>
            <a:prstGeom prst="rect">
              <a:avLst/>
            </a:prstGeom>
          </p:spPr>
        </p:pic>
        <p:pic>
          <p:nvPicPr>
            <p:cNvPr id="603" name="Imagen 602">
              <a:extLst>
                <a:ext uri="{FF2B5EF4-FFF2-40B4-BE49-F238E27FC236}">
                  <a16:creationId xmlns:a16="http://schemas.microsoft.com/office/drawing/2014/main" id="{388EE869-745D-3BC6-1522-86887DB445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51472" y="3637612"/>
              <a:ext cx="540363" cy="344552"/>
            </a:xfrm>
            <a:prstGeom prst="rect">
              <a:avLst/>
            </a:prstGeom>
          </p:spPr>
        </p:pic>
        <p:pic>
          <p:nvPicPr>
            <p:cNvPr id="604" name="Imagen 603">
              <a:extLst>
                <a:ext uri="{FF2B5EF4-FFF2-40B4-BE49-F238E27FC236}">
                  <a16:creationId xmlns:a16="http://schemas.microsoft.com/office/drawing/2014/main" id="{C62EEF35-7F81-6277-4332-FE5B1B280B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00502" y="3637612"/>
              <a:ext cx="540363" cy="344552"/>
            </a:xfrm>
            <a:prstGeom prst="rect">
              <a:avLst/>
            </a:prstGeom>
          </p:spPr>
        </p:pic>
        <p:pic>
          <p:nvPicPr>
            <p:cNvPr id="605" name="Imagen 604">
              <a:extLst>
                <a:ext uri="{FF2B5EF4-FFF2-40B4-BE49-F238E27FC236}">
                  <a16:creationId xmlns:a16="http://schemas.microsoft.com/office/drawing/2014/main" id="{D4D0821F-7995-E982-E93A-9339BD49EC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49532" y="3637612"/>
              <a:ext cx="540363" cy="344552"/>
            </a:xfrm>
            <a:prstGeom prst="rect">
              <a:avLst/>
            </a:prstGeom>
          </p:spPr>
        </p:pic>
        <p:pic>
          <p:nvPicPr>
            <p:cNvPr id="606" name="Imagen 605">
              <a:extLst>
                <a:ext uri="{FF2B5EF4-FFF2-40B4-BE49-F238E27FC236}">
                  <a16:creationId xmlns:a16="http://schemas.microsoft.com/office/drawing/2014/main" id="{47A2F7D3-AFBD-5D84-D5CF-36195DAF41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98562" y="3637612"/>
              <a:ext cx="540363" cy="344552"/>
            </a:xfrm>
            <a:prstGeom prst="rect">
              <a:avLst/>
            </a:prstGeom>
          </p:spPr>
        </p:pic>
        <p:pic>
          <p:nvPicPr>
            <p:cNvPr id="607" name="Imagen 606">
              <a:extLst>
                <a:ext uri="{FF2B5EF4-FFF2-40B4-BE49-F238E27FC236}">
                  <a16:creationId xmlns:a16="http://schemas.microsoft.com/office/drawing/2014/main" id="{F875E29F-7E70-A01D-D311-2BCF58E195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47592" y="3637612"/>
              <a:ext cx="540363" cy="344552"/>
            </a:xfrm>
            <a:prstGeom prst="rect">
              <a:avLst/>
            </a:prstGeom>
          </p:spPr>
        </p:pic>
        <p:pic>
          <p:nvPicPr>
            <p:cNvPr id="608" name="Imagen 607">
              <a:extLst>
                <a:ext uri="{FF2B5EF4-FFF2-40B4-BE49-F238E27FC236}">
                  <a16:creationId xmlns:a16="http://schemas.microsoft.com/office/drawing/2014/main" id="{1721E0A5-A18F-8136-2A5F-5B943A5E86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96622" y="3637612"/>
              <a:ext cx="540363" cy="344552"/>
            </a:xfrm>
            <a:prstGeom prst="rect">
              <a:avLst/>
            </a:prstGeom>
          </p:spPr>
        </p:pic>
        <p:pic>
          <p:nvPicPr>
            <p:cNvPr id="609" name="Imagen 608">
              <a:extLst>
                <a:ext uri="{FF2B5EF4-FFF2-40B4-BE49-F238E27FC236}">
                  <a16:creationId xmlns:a16="http://schemas.microsoft.com/office/drawing/2014/main" id="{F510A9F6-B583-3754-9820-D53E844905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45652" y="3637612"/>
              <a:ext cx="540363" cy="344552"/>
            </a:xfrm>
            <a:prstGeom prst="rect">
              <a:avLst/>
            </a:prstGeom>
          </p:spPr>
        </p:pic>
        <p:pic>
          <p:nvPicPr>
            <p:cNvPr id="610" name="Imagen 609">
              <a:extLst>
                <a:ext uri="{FF2B5EF4-FFF2-40B4-BE49-F238E27FC236}">
                  <a16:creationId xmlns:a16="http://schemas.microsoft.com/office/drawing/2014/main" id="{C82730F6-072E-AE71-2704-66C1BF572D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94682" y="3637612"/>
              <a:ext cx="540363" cy="344552"/>
            </a:xfrm>
            <a:prstGeom prst="rect">
              <a:avLst/>
            </a:prstGeom>
          </p:spPr>
        </p:pic>
        <p:pic>
          <p:nvPicPr>
            <p:cNvPr id="611" name="Imagen 610">
              <a:extLst>
                <a:ext uri="{FF2B5EF4-FFF2-40B4-BE49-F238E27FC236}">
                  <a16:creationId xmlns:a16="http://schemas.microsoft.com/office/drawing/2014/main" id="{DCBA9736-F98D-B692-46A1-71ABFEECCB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43712" y="3637612"/>
              <a:ext cx="540363" cy="344552"/>
            </a:xfrm>
            <a:prstGeom prst="rect">
              <a:avLst/>
            </a:prstGeom>
          </p:spPr>
        </p:pic>
        <p:pic>
          <p:nvPicPr>
            <p:cNvPr id="612" name="Imagen 611">
              <a:extLst>
                <a:ext uri="{FF2B5EF4-FFF2-40B4-BE49-F238E27FC236}">
                  <a16:creationId xmlns:a16="http://schemas.microsoft.com/office/drawing/2014/main" id="{F4435918-33C8-B472-C1DD-89EE2CE552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92742" y="3637612"/>
              <a:ext cx="540363" cy="344552"/>
            </a:xfrm>
            <a:prstGeom prst="rect">
              <a:avLst/>
            </a:prstGeom>
          </p:spPr>
        </p:pic>
        <p:pic>
          <p:nvPicPr>
            <p:cNvPr id="613" name="Imagen 612">
              <a:extLst>
                <a:ext uri="{FF2B5EF4-FFF2-40B4-BE49-F238E27FC236}">
                  <a16:creationId xmlns:a16="http://schemas.microsoft.com/office/drawing/2014/main" id="{AA5555BA-C2E8-06B5-BD3D-5E602561DE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41772" y="3637612"/>
              <a:ext cx="540363" cy="344552"/>
            </a:xfrm>
            <a:prstGeom prst="rect">
              <a:avLst/>
            </a:prstGeom>
          </p:spPr>
        </p:pic>
        <p:pic>
          <p:nvPicPr>
            <p:cNvPr id="614" name="Imagen 613">
              <a:extLst>
                <a:ext uri="{FF2B5EF4-FFF2-40B4-BE49-F238E27FC236}">
                  <a16:creationId xmlns:a16="http://schemas.microsoft.com/office/drawing/2014/main" id="{87D258AF-8085-362D-25BC-623F25718A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90802" y="3637612"/>
              <a:ext cx="540363" cy="344552"/>
            </a:xfrm>
            <a:prstGeom prst="rect">
              <a:avLst/>
            </a:prstGeom>
          </p:spPr>
        </p:pic>
        <p:pic>
          <p:nvPicPr>
            <p:cNvPr id="615" name="Imagen 614">
              <a:extLst>
                <a:ext uri="{FF2B5EF4-FFF2-40B4-BE49-F238E27FC236}">
                  <a16:creationId xmlns:a16="http://schemas.microsoft.com/office/drawing/2014/main" id="{3CFCA9D4-2DA5-790B-5CAC-0BF7732B12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39832" y="3637612"/>
              <a:ext cx="540363" cy="344552"/>
            </a:xfrm>
            <a:prstGeom prst="rect">
              <a:avLst/>
            </a:prstGeom>
          </p:spPr>
        </p:pic>
        <p:pic>
          <p:nvPicPr>
            <p:cNvPr id="616" name="Imagen 615">
              <a:extLst>
                <a:ext uri="{FF2B5EF4-FFF2-40B4-BE49-F238E27FC236}">
                  <a16:creationId xmlns:a16="http://schemas.microsoft.com/office/drawing/2014/main" id="{32D603FB-8403-E7E6-992D-2F61663143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88862" y="3637612"/>
              <a:ext cx="540363" cy="344552"/>
            </a:xfrm>
            <a:prstGeom prst="rect">
              <a:avLst/>
            </a:prstGeom>
          </p:spPr>
        </p:pic>
        <p:pic>
          <p:nvPicPr>
            <p:cNvPr id="617" name="Imagen 616">
              <a:extLst>
                <a:ext uri="{FF2B5EF4-FFF2-40B4-BE49-F238E27FC236}">
                  <a16:creationId xmlns:a16="http://schemas.microsoft.com/office/drawing/2014/main" id="{E163F01D-B5E6-DD0D-06DF-65C9135278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37892" y="3637612"/>
              <a:ext cx="540363" cy="344552"/>
            </a:xfrm>
            <a:prstGeom prst="rect">
              <a:avLst/>
            </a:prstGeom>
          </p:spPr>
        </p:pic>
        <p:pic>
          <p:nvPicPr>
            <p:cNvPr id="618" name="Imagen 617">
              <a:extLst>
                <a:ext uri="{FF2B5EF4-FFF2-40B4-BE49-F238E27FC236}">
                  <a16:creationId xmlns:a16="http://schemas.microsoft.com/office/drawing/2014/main" id="{F7A8B5F0-5AFC-1FC0-3C51-941F53BB82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86922" y="3637612"/>
              <a:ext cx="540363" cy="344552"/>
            </a:xfrm>
            <a:prstGeom prst="rect">
              <a:avLst/>
            </a:prstGeom>
          </p:spPr>
        </p:pic>
        <p:pic>
          <p:nvPicPr>
            <p:cNvPr id="619" name="Imagen 618">
              <a:extLst>
                <a:ext uri="{FF2B5EF4-FFF2-40B4-BE49-F238E27FC236}">
                  <a16:creationId xmlns:a16="http://schemas.microsoft.com/office/drawing/2014/main" id="{5A197033-F4EF-AFBE-0F27-CC210D1A1F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35952" y="3637612"/>
              <a:ext cx="540363" cy="344552"/>
            </a:xfrm>
            <a:prstGeom prst="rect">
              <a:avLst/>
            </a:prstGeom>
          </p:spPr>
        </p:pic>
        <p:pic>
          <p:nvPicPr>
            <p:cNvPr id="620" name="Imagen 619">
              <a:extLst>
                <a:ext uri="{FF2B5EF4-FFF2-40B4-BE49-F238E27FC236}">
                  <a16:creationId xmlns:a16="http://schemas.microsoft.com/office/drawing/2014/main" id="{158037B6-C322-60EC-3506-566DB3AA31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84982" y="3637612"/>
              <a:ext cx="540363" cy="344552"/>
            </a:xfrm>
            <a:prstGeom prst="rect">
              <a:avLst/>
            </a:prstGeom>
          </p:spPr>
        </p:pic>
        <p:pic>
          <p:nvPicPr>
            <p:cNvPr id="621" name="Imagen 620">
              <a:extLst>
                <a:ext uri="{FF2B5EF4-FFF2-40B4-BE49-F238E27FC236}">
                  <a16:creationId xmlns:a16="http://schemas.microsoft.com/office/drawing/2014/main" id="{D34E42C8-9F8F-C902-4A00-826D2A3A56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34012" y="3637612"/>
              <a:ext cx="540363" cy="344552"/>
            </a:xfrm>
            <a:prstGeom prst="rect">
              <a:avLst/>
            </a:prstGeom>
          </p:spPr>
        </p:pic>
        <p:pic>
          <p:nvPicPr>
            <p:cNvPr id="622" name="Imagen 621">
              <a:extLst>
                <a:ext uri="{FF2B5EF4-FFF2-40B4-BE49-F238E27FC236}">
                  <a16:creationId xmlns:a16="http://schemas.microsoft.com/office/drawing/2014/main" id="{74D4A8AB-0962-145C-B45C-3EBE86591C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83042" y="3637612"/>
              <a:ext cx="540363" cy="344552"/>
            </a:xfrm>
            <a:prstGeom prst="rect">
              <a:avLst/>
            </a:prstGeom>
          </p:spPr>
        </p:pic>
        <p:pic>
          <p:nvPicPr>
            <p:cNvPr id="623" name="Imagen 622">
              <a:extLst>
                <a:ext uri="{FF2B5EF4-FFF2-40B4-BE49-F238E27FC236}">
                  <a16:creationId xmlns:a16="http://schemas.microsoft.com/office/drawing/2014/main" id="{2F31174A-FDCB-43AD-3870-BCBD561924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32072" y="3637612"/>
              <a:ext cx="540363" cy="344552"/>
            </a:xfrm>
            <a:prstGeom prst="rect">
              <a:avLst/>
            </a:prstGeom>
          </p:spPr>
        </p:pic>
        <p:pic>
          <p:nvPicPr>
            <p:cNvPr id="624" name="Imagen 623">
              <a:extLst>
                <a:ext uri="{FF2B5EF4-FFF2-40B4-BE49-F238E27FC236}">
                  <a16:creationId xmlns:a16="http://schemas.microsoft.com/office/drawing/2014/main" id="{2B19DB60-1053-DD6F-D4EF-5993C95455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81102" y="3637612"/>
              <a:ext cx="540363" cy="344552"/>
            </a:xfrm>
            <a:prstGeom prst="rect">
              <a:avLst/>
            </a:prstGeom>
          </p:spPr>
        </p:pic>
        <p:pic>
          <p:nvPicPr>
            <p:cNvPr id="625" name="Imagen 624">
              <a:extLst>
                <a:ext uri="{FF2B5EF4-FFF2-40B4-BE49-F238E27FC236}">
                  <a16:creationId xmlns:a16="http://schemas.microsoft.com/office/drawing/2014/main" id="{BF430558-3F7B-2A5F-1603-1B2CA93705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30132" y="3637612"/>
              <a:ext cx="540363" cy="344552"/>
            </a:xfrm>
            <a:prstGeom prst="rect">
              <a:avLst/>
            </a:prstGeom>
          </p:spPr>
        </p:pic>
        <p:pic>
          <p:nvPicPr>
            <p:cNvPr id="626" name="Imagen 625">
              <a:extLst>
                <a:ext uri="{FF2B5EF4-FFF2-40B4-BE49-F238E27FC236}">
                  <a16:creationId xmlns:a16="http://schemas.microsoft.com/office/drawing/2014/main" id="{20938F15-0314-6E6C-5942-BE5F181E26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79162" y="3637612"/>
              <a:ext cx="540363" cy="344552"/>
            </a:xfrm>
            <a:prstGeom prst="rect">
              <a:avLst/>
            </a:prstGeom>
          </p:spPr>
        </p:pic>
        <p:pic>
          <p:nvPicPr>
            <p:cNvPr id="627" name="Imagen 626">
              <a:extLst>
                <a:ext uri="{FF2B5EF4-FFF2-40B4-BE49-F238E27FC236}">
                  <a16:creationId xmlns:a16="http://schemas.microsoft.com/office/drawing/2014/main" id="{BB7741B9-B7C4-0B4E-72F5-6E09F7866E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28192" y="3637612"/>
              <a:ext cx="540363" cy="344552"/>
            </a:xfrm>
            <a:prstGeom prst="rect">
              <a:avLst/>
            </a:prstGeom>
          </p:spPr>
        </p:pic>
        <p:pic>
          <p:nvPicPr>
            <p:cNvPr id="628" name="Imagen 627">
              <a:extLst>
                <a:ext uri="{FF2B5EF4-FFF2-40B4-BE49-F238E27FC236}">
                  <a16:creationId xmlns:a16="http://schemas.microsoft.com/office/drawing/2014/main" id="{930BE12D-CB25-65CA-63D5-336788EA3F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77222" y="3637612"/>
              <a:ext cx="540363" cy="344552"/>
            </a:xfrm>
            <a:prstGeom prst="rect">
              <a:avLst/>
            </a:prstGeom>
          </p:spPr>
        </p:pic>
        <p:pic>
          <p:nvPicPr>
            <p:cNvPr id="629" name="Imagen 628">
              <a:extLst>
                <a:ext uri="{FF2B5EF4-FFF2-40B4-BE49-F238E27FC236}">
                  <a16:creationId xmlns:a16="http://schemas.microsoft.com/office/drawing/2014/main" id="{6A31AABB-D485-9137-B3B5-CF40BDC2BF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26252" y="3637612"/>
              <a:ext cx="540363" cy="344552"/>
            </a:xfrm>
            <a:prstGeom prst="rect">
              <a:avLst/>
            </a:prstGeom>
          </p:spPr>
        </p:pic>
        <p:pic>
          <p:nvPicPr>
            <p:cNvPr id="630" name="Imagen 629">
              <a:extLst>
                <a:ext uri="{FF2B5EF4-FFF2-40B4-BE49-F238E27FC236}">
                  <a16:creationId xmlns:a16="http://schemas.microsoft.com/office/drawing/2014/main" id="{BB08C201-81A5-8839-6C18-CC22F84591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75282" y="3637612"/>
              <a:ext cx="540363" cy="344552"/>
            </a:xfrm>
            <a:prstGeom prst="rect">
              <a:avLst/>
            </a:prstGeom>
          </p:spPr>
        </p:pic>
        <p:pic>
          <p:nvPicPr>
            <p:cNvPr id="631" name="Imagen 630">
              <a:extLst>
                <a:ext uri="{FF2B5EF4-FFF2-40B4-BE49-F238E27FC236}">
                  <a16:creationId xmlns:a16="http://schemas.microsoft.com/office/drawing/2014/main" id="{A13A4C1A-7D8C-1563-BB9C-174ADA0A29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24312" y="3637612"/>
              <a:ext cx="540363" cy="344552"/>
            </a:xfrm>
            <a:prstGeom prst="rect">
              <a:avLst/>
            </a:prstGeom>
          </p:spPr>
        </p:pic>
        <p:pic>
          <p:nvPicPr>
            <p:cNvPr id="632" name="Imagen 631">
              <a:extLst>
                <a:ext uri="{FF2B5EF4-FFF2-40B4-BE49-F238E27FC236}">
                  <a16:creationId xmlns:a16="http://schemas.microsoft.com/office/drawing/2014/main" id="{F59C923F-0984-3143-BD46-18DABB8E69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73342" y="3637612"/>
              <a:ext cx="540363" cy="344552"/>
            </a:xfrm>
            <a:prstGeom prst="rect">
              <a:avLst/>
            </a:prstGeom>
          </p:spPr>
        </p:pic>
        <p:pic>
          <p:nvPicPr>
            <p:cNvPr id="633" name="Imagen 632">
              <a:extLst>
                <a:ext uri="{FF2B5EF4-FFF2-40B4-BE49-F238E27FC236}">
                  <a16:creationId xmlns:a16="http://schemas.microsoft.com/office/drawing/2014/main" id="{B11342CD-81A6-32C4-C953-DD5C836039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22372" y="3637612"/>
              <a:ext cx="540363" cy="344552"/>
            </a:xfrm>
            <a:prstGeom prst="rect">
              <a:avLst/>
            </a:prstGeom>
          </p:spPr>
        </p:pic>
        <p:pic>
          <p:nvPicPr>
            <p:cNvPr id="634" name="Imagen 633">
              <a:extLst>
                <a:ext uri="{FF2B5EF4-FFF2-40B4-BE49-F238E27FC236}">
                  <a16:creationId xmlns:a16="http://schemas.microsoft.com/office/drawing/2014/main" id="{9C92FAFA-8614-DB72-9F21-5D00329554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71402" y="3637612"/>
              <a:ext cx="540363" cy="344552"/>
            </a:xfrm>
            <a:prstGeom prst="rect">
              <a:avLst/>
            </a:prstGeom>
          </p:spPr>
        </p:pic>
        <p:pic>
          <p:nvPicPr>
            <p:cNvPr id="635" name="Imagen 634">
              <a:extLst>
                <a:ext uri="{FF2B5EF4-FFF2-40B4-BE49-F238E27FC236}">
                  <a16:creationId xmlns:a16="http://schemas.microsoft.com/office/drawing/2014/main" id="{B192AC2A-9D99-19D4-B349-188E95E567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20432" y="3637612"/>
              <a:ext cx="540363" cy="344552"/>
            </a:xfrm>
            <a:prstGeom prst="rect">
              <a:avLst/>
            </a:prstGeom>
          </p:spPr>
        </p:pic>
        <p:pic>
          <p:nvPicPr>
            <p:cNvPr id="636" name="Imagen 635">
              <a:extLst>
                <a:ext uri="{FF2B5EF4-FFF2-40B4-BE49-F238E27FC236}">
                  <a16:creationId xmlns:a16="http://schemas.microsoft.com/office/drawing/2014/main" id="{6FFB5398-9A29-59B7-571D-4E0D51D226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69462" y="3637612"/>
              <a:ext cx="540363" cy="344552"/>
            </a:xfrm>
            <a:prstGeom prst="rect">
              <a:avLst/>
            </a:prstGeom>
          </p:spPr>
        </p:pic>
        <p:pic>
          <p:nvPicPr>
            <p:cNvPr id="637" name="Imagen 636">
              <a:extLst>
                <a:ext uri="{FF2B5EF4-FFF2-40B4-BE49-F238E27FC236}">
                  <a16:creationId xmlns:a16="http://schemas.microsoft.com/office/drawing/2014/main" id="{F4A26323-5358-54F6-FB9B-584ADACE65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18492" y="3637612"/>
              <a:ext cx="540363" cy="344552"/>
            </a:xfrm>
            <a:prstGeom prst="rect">
              <a:avLst/>
            </a:prstGeom>
          </p:spPr>
        </p:pic>
        <p:pic>
          <p:nvPicPr>
            <p:cNvPr id="638" name="Imagen 637">
              <a:extLst>
                <a:ext uri="{FF2B5EF4-FFF2-40B4-BE49-F238E27FC236}">
                  <a16:creationId xmlns:a16="http://schemas.microsoft.com/office/drawing/2014/main" id="{4A1414F5-CB80-0DCA-00F5-C36AF4EE9C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67522" y="3637612"/>
              <a:ext cx="540363" cy="344552"/>
            </a:xfrm>
            <a:prstGeom prst="rect">
              <a:avLst/>
            </a:prstGeom>
          </p:spPr>
        </p:pic>
        <p:pic>
          <p:nvPicPr>
            <p:cNvPr id="639" name="Imagen 638">
              <a:extLst>
                <a:ext uri="{FF2B5EF4-FFF2-40B4-BE49-F238E27FC236}">
                  <a16:creationId xmlns:a16="http://schemas.microsoft.com/office/drawing/2014/main" id="{19F2A0E0-4C31-251D-21B1-493FBF26C4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16552" y="3637612"/>
              <a:ext cx="540363" cy="344552"/>
            </a:xfrm>
            <a:prstGeom prst="rect">
              <a:avLst/>
            </a:prstGeom>
          </p:spPr>
        </p:pic>
        <p:pic>
          <p:nvPicPr>
            <p:cNvPr id="640" name="Imagen 639">
              <a:extLst>
                <a:ext uri="{FF2B5EF4-FFF2-40B4-BE49-F238E27FC236}">
                  <a16:creationId xmlns:a16="http://schemas.microsoft.com/office/drawing/2014/main" id="{1B19DF25-3012-1794-6779-71DE225307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65582" y="3637612"/>
              <a:ext cx="540363" cy="344552"/>
            </a:xfrm>
            <a:prstGeom prst="rect">
              <a:avLst/>
            </a:prstGeom>
          </p:spPr>
        </p:pic>
        <p:pic>
          <p:nvPicPr>
            <p:cNvPr id="641" name="Imagen 640">
              <a:extLst>
                <a:ext uri="{FF2B5EF4-FFF2-40B4-BE49-F238E27FC236}">
                  <a16:creationId xmlns:a16="http://schemas.microsoft.com/office/drawing/2014/main" id="{593352A7-6077-7AFC-67ED-ED94B851CD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14596" y="3637612"/>
              <a:ext cx="540363" cy="344552"/>
            </a:xfrm>
            <a:prstGeom prst="rect">
              <a:avLst/>
            </a:prstGeom>
          </p:spPr>
        </p:pic>
        <p:pic>
          <p:nvPicPr>
            <p:cNvPr id="642" name="Imagen 641">
              <a:extLst>
                <a:ext uri="{FF2B5EF4-FFF2-40B4-BE49-F238E27FC236}">
                  <a16:creationId xmlns:a16="http://schemas.microsoft.com/office/drawing/2014/main" id="{F06BEBF6-2E9D-79C9-3416-25E20DB839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58381" y="3637612"/>
              <a:ext cx="540363" cy="344552"/>
            </a:xfrm>
            <a:prstGeom prst="rect">
              <a:avLst/>
            </a:prstGeom>
          </p:spPr>
        </p:pic>
        <p:pic>
          <p:nvPicPr>
            <p:cNvPr id="643" name="Imagen 642">
              <a:extLst>
                <a:ext uri="{FF2B5EF4-FFF2-40B4-BE49-F238E27FC236}">
                  <a16:creationId xmlns:a16="http://schemas.microsoft.com/office/drawing/2014/main" id="{EF27C368-D6ED-1399-EE76-39B13880A4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00017" y="3637612"/>
              <a:ext cx="540363" cy="344552"/>
            </a:xfrm>
            <a:prstGeom prst="rect">
              <a:avLst/>
            </a:prstGeom>
          </p:spPr>
        </p:pic>
        <p:pic>
          <p:nvPicPr>
            <p:cNvPr id="644" name="Imagen 643">
              <a:extLst>
                <a:ext uri="{FF2B5EF4-FFF2-40B4-BE49-F238E27FC236}">
                  <a16:creationId xmlns:a16="http://schemas.microsoft.com/office/drawing/2014/main" id="{D6E09715-3C9D-EC79-9770-11FBD4A5EC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43802" y="3637612"/>
              <a:ext cx="540363" cy="344552"/>
            </a:xfrm>
            <a:prstGeom prst="rect">
              <a:avLst/>
            </a:prstGeom>
          </p:spPr>
        </p:pic>
        <p:pic>
          <p:nvPicPr>
            <p:cNvPr id="645" name="Imagen 644">
              <a:extLst>
                <a:ext uri="{FF2B5EF4-FFF2-40B4-BE49-F238E27FC236}">
                  <a16:creationId xmlns:a16="http://schemas.microsoft.com/office/drawing/2014/main" id="{52517217-C429-40FF-0937-94D3B3641A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87586" y="3637612"/>
              <a:ext cx="540363" cy="344552"/>
            </a:xfrm>
            <a:prstGeom prst="rect">
              <a:avLst/>
            </a:prstGeom>
          </p:spPr>
        </p:pic>
        <p:pic>
          <p:nvPicPr>
            <p:cNvPr id="646" name="Imagen 645">
              <a:extLst>
                <a:ext uri="{FF2B5EF4-FFF2-40B4-BE49-F238E27FC236}">
                  <a16:creationId xmlns:a16="http://schemas.microsoft.com/office/drawing/2014/main" id="{F51594FB-BE0D-FFEE-FFF7-6542BFF226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28982" y="3637612"/>
              <a:ext cx="540363" cy="344552"/>
            </a:xfrm>
            <a:prstGeom prst="rect">
              <a:avLst/>
            </a:prstGeom>
          </p:spPr>
        </p:pic>
        <p:pic>
          <p:nvPicPr>
            <p:cNvPr id="647" name="Imagen 646">
              <a:extLst>
                <a:ext uri="{FF2B5EF4-FFF2-40B4-BE49-F238E27FC236}">
                  <a16:creationId xmlns:a16="http://schemas.microsoft.com/office/drawing/2014/main" id="{9056C946-E5AB-273F-87F9-7CFD668D87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72766" y="3637612"/>
              <a:ext cx="540363" cy="344552"/>
            </a:xfrm>
            <a:prstGeom prst="rect">
              <a:avLst/>
            </a:prstGeom>
          </p:spPr>
        </p:pic>
        <p:pic>
          <p:nvPicPr>
            <p:cNvPr id="648" name="Imagen 647">
              <a:extLst>
                <a:ext uri="{FF2B5EF4-FFF2-40B4-BE49-F238E27FC236}">
                  <a16:creationId xmlns:a16="http://schemas.microsoft.com/office/drawing/2014/main" id="{8CE8A69E-9B90-8705-C0F4-284EB2369B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16551" y="3637612"/>
              <a:ext cx="540363" cy="344552"/>
            </a:xfrm>
            <a:prstGeom prst="rect">
              <a:avLst/>
            </a:prstGeom>
          </p:spPr>
        </p:pic>
        <p:pic>
          <p:nvPicPr>
            <p:cNvPr id="649" name="Imagen 648">
              <a:extLst>
                <a:ext uri="{FF2B5EF4-FFF2-40B4-BE49-F238E27FC236}">
                  <a16:creationId xmlns:a16="http://schemas.microsoft.com/office/drawing/2014/main" id="{0F198572-7580-78A0-894D-EC80C0053B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18133" y="3637612"/>
              <a:ext cx="540363" cy="344552"/>
            </a:xfrm>
            <a:prstGeom prst="rect">
              <a:avLst/>
            </a:prstGeom>
          </p:spPr>
        </p:pic>
        <p:pic>
          <p:nvPicPr>
            <p:cNvPr id="650" name="Imagen 649">
              <a:extLst>
                <a:ext uri="{FF2B5EF4-FFF2-40B4-BE49-F238E27FC236}">
                  <a16:creationId xmlns:a16="http://schemas.microsoft.com/office/drawing/2014/main" id="{5198849F-1521-F879-EFC3-F23459667E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61917" y="3637612"/>
              <a:ext cx="540363" cy="344552"/>
            </a:xfrm>
            <a:prstGeom prst="rect">
              <a:avLst/>
            </a:prstGeom>
          </p:spPr>
        </p:pic>
        <p:pic>
          <p:nvPicPr>
            <p:cNvPr id="651" name="Imagen 650">
              <a:extLst>
                <a:ext uri="{FF2B5EF4-FFF2-40B4-BE49-F238E27FC236}">
                  <a16:creationId xmlns:a16="http://schemas.microsoft.com/office/drawing/2014/main" id="{E30A41B9-F5BB-6D93-C5E7-39C393FEBB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805702" y="3637612"/>
              <a:ext cx="540363" cy="344552"/>
            </a:xfrm>
            <a:prstGeom prst="rect">
              <a:avLst/>
            </a:prstGeom>
          </p:spPr>
        </p:pic>
        <p:pic>
          <p:nvPicPr>
            <p:cNvPr id="652" name="Imagen 651">
              <a:extLst>
                <a:ext uri="{FF2B5EF4-FFF2-40B4-BE49-F238E27FC236}">
                  <a16:creationId xmlns:a16="http://schemas.microsoft.com/office/drawing/2014/main" id="{7925E9EF-E6A4-E8D4-073A-5995DD9A17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84002" y="3072475"/>
              <a:ext cx="540363" cy="344552"/>
            </a:xfrm>
            <a:prstGeom prst="rect">
              <a:avLst/>
            </a:prstGeom>
          </p:spPr>
        </p:pic>
        <p:pic>
          <p:nvPicPr>
            <p:cNvPr id="653" name="Imagen 652">
              <a:extLst>
                <a:ext uri="{FF2B5EF4-FFF2-40B4-BE49-F238E27FC236}">
                  <a16:creationId xmlns:a16="http://schemas.microsoft.com/office/drawing/2014/main" id="{62B365B9-A59E-92A9-F1ED-B0592C3CEE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53869" y="3072475"/>
              <a:ext cx="540363" cy="344552"/>
            </a:xfrm>
            <a:prstGeom prst="rect">
              <a:avLst/>
            </a:prstGeom>
          </p:spPr>
        </p:pic>
        <p:pic>
          <p:nvPicPr>
            <p:cNvPr id="654" name="Imagen 653">
              <a:extLst>
                <a:ext uri="{FF2B5EF4-FFF2-40B4-BE49-F238E27FC236}">
                  <a16:creationId xmlns:a16="http://schemas.microsoft.com/office/drawing/2014/main" id="{3060A73F-C2D3-40CE-B97D-EA72F8CB40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23736" y="3072475"/>
              <a:ext cx="540363" cy="344552"/>
            </a:xfrm>
            <a:prstGeom prst="rect">
              <a:avLst/>
            </a:prstGeom>
          </p:spPr>
        </p:pic>
        <p:pic>
          <p:nvPicPr>
            <p:cNvPr id="655" name="Imagen 654">
              <a:extLst>
                <a:ext uri="{FF2B5EF4-FFF2-40B4-BE49-F238E27FC236}">
                  <a16:creationId xmlns:a16="http://schemas.microsoft.com/office/drawing/2014/main" id="{2316A29D-4997-1128-C147-D2E0BA17D0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93920" y="3064771"/>
              <a:ext cx="510867" cy="352256"/>
            </a:xfrm>
            <a:prstGeom prst="rect">
              <a:avLst/>
            </a:prstGeom>
          </p:spPr>
        </p:pic>
        <p:pic>
          <p:nvPicPr>
            <p:cNvPr id="656" name="Imagen 655">
              <a:extLst>
                <a:ext uri="{FF2B5EF4-FFF2-40B4-BE49-F238E27FC236}">
                  <a16:creationId xmlns:a16="http://schemas.microsoft.com/office/drawing/2014/main" id="{787003B9-16C4-EBCC-6660-24F3634540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63787" y="3064771"/>
              <a:ext cx="510867" cy="352256"/>
            </a:xfrm>
            <a:prstGeom prst="rect">
              <a:avLst/>
            </a:prstGeom>
          </p:spPr>
        </p:pic>
        <p:pic>
          <p:nvPicPr>
            <p:cNvPr id="657" name="Imagen 656">
              <a:extLst>
                <a:ext uri="{FF2B5EF4-FFF2-40B4-BE49-F238E27FC236}">
                  <a16:creationId xmlns:a16="http://schemas.microsoft.com/office/drawing/2014/main" id="{303C2BFD-3742-678C-62A1-FEB0CD8686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33654" y="3064771"/>
              <a:ext cx="510867" cy="352256"/>
            </a:xfrm>
            <a:prstGeom prst="rect">
              <a:avLst/>
            </a:prstGeom>
          </p:spPr>
        </p:pic>
        <p:pic>
          <p:nvPicPr>
            <p:cNvPr id="658" name="Imagen 657">
              <a:extLst>
                <a:ext uri="{FF2B5EF4-FFF2-40B4-BE49-F238E27FC236}">
                  <a16:creationId xmlns:a16="http://schemas.microsoft.com/office/drawing/2014/main" id="{83E4C6D7-4C31-93CB-083E-4611B2BFAE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03521" y="3064771"/>
              <a:ext cx="510867" cy="352256"/>
            </a:xfrm>
            <a:prstGeom prst="rect">
              <a:avLst/>
            </a:prstGeom>
          </p:spPr>
        </p:pic>
        <p:pic>
          <p:nvPicPr>
            <p:cNvPr id="659" name="Imagen 658">
              <a:extLst>
                <a:ext uri="{FF2B5EF4-FFF2-40B4-BE49-F238E27FC236}">
                  <a16:creationId xmlns:a16="http://schemas.microsoft.com/office/drawing/2014/main" id="{E89DE603-879C-60B1-11ED-140B9B262F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73387" y="3064771"/>
              <a:ext cx="510867" cy="352256"/>
            </a:xfrm>
            <a:prstGeom prst="rect">
              <a:avLst/>
            </a:prstGeom>
          </p:spPr>
        </p:pic>
        <p:pic>
          <p:nvPicPr>
            <p:cNvPr id="660" name="Imagen 659">
              <a:extLst>
                <a:ext uri="{FF2B5EF4-FFF2-40B4-BE49-F238E27FC236}">
                  <a16:creationId xmlns:a16="http://schemas.microsoft.com/office/drawing/2014/main" id="{7F4A79D7-767F-C073-DCB9-6FDA7FA402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43254" y="3064771"/>
              <a:ext cx="510867" cy="352256"/>
            </a:xfrm>
            <a:prstGeom prst="rect">
              <a:avLst/>
            </a:prstGeom>
          </p:spPr>
        </p:pic>
        <p:pic>
          <p:nvPicPr>
            <p:cNvPr id="661" name="Imagen 660">
              <a:extLst>
                <a:ext uri="{FF2B5EF4-FFF2-40B4-BE49-F238E27FC236}">
                  <a16:creationId xmlns:a16="http://schemas.microsoft.com/office/drawing/2014/main" id="{A0C83FE8-C7FE-5872-6F27-4ED92118AF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13121" y="3064771"/>
              <a:ext cx="510867" cy="352256"/>
            </a:xfrm>
            <a:prstGeom prst="rect">
              <a:avLst/>
            </a:prstGeom>
          </p:spPr>
        </p:pic>
        <p:pic>
          <p:nvPicPr>
            <p:cNvPr id="662" name="Imagen 661">
              <a:extLst>
                <a:ext uri="{FF2B5EF4-FFF2-40B4-BE49-F238E27FC236}">
                  <a16:creationId xmlns:a16="http://schemas.microsoft.com/office/drawing/2014/main" id="{038D9846-24D2-2997-7C2A-8F38C48F74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82987" y="3064771"/>
              <a:ext cx="510867" cy="352256"/>
            </a:xfrm>
            <a:prstGeom prst="rect">
              <a:avLst/>
            </a:prstGeom>
          </p:spPr>
        </p:pic>
        <p:pic>
          <p:nvPicPr>
            <p:cNvPr id="663" name="Imagen 662">
              <a:extLst>
                <a:ext uri="{FF2B5EF4-FFF2-40B4-BE49-F238E27FC236}">
                  <a16:creationId xmlns:a16="http://schemas.microsoft.com/office/drawing/2014/main" id="{BEF9ECDB-CA16-7F76-83B6-CDB00027ED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52854" y="3064771"/>
              <a:ext cx="510867" cy="352256"/>
            </a:xfrm>
            <a:prstGeom prst="rect">
              <a:avLst/>
            </a:prstGeom>
          </p:spPr>
        </p:pic>
        <p:pic>
          <p:nvPicPr>
            <p:cNvPr id="664" name="Imagen 663">
              <a:extLst>
                <a:ext uri="{FF2B5EF4-FFF2-40B4-BE49-F238E27FC236}">
                  <a16:creationId xmlns:a16="http://schemas.microsoft.com/office/drawing/2014/main" id="{B7B974ED-8B9F-15F0-131E-3C3F901C1F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22721" y="3064771"/>
              <a:ext cx="510867" cy="352256"/>
            </a:xfrm>
            <a:prstGeom prst="rect">
              <a:avLst/>
            </a:prstGeom>
          </p:spPr>
        </p:pic>
        <p:pic>
          <p:nvPicPr>
            <p:cNvPr id="665" name="Imagen 664">
              <a:extLst>
                <a:ext uri="{FF2B5EF4-FFF2-40B4-BE49-F238E27FC236}">
                  <a16:creationId xmlns:a16="http://schemas.microsoft.com/office/drawing/2014/main" id="{CCAD8725-C27F-F98F-84A2-6E1A0D9D28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92588" y="3064771"/>
              <a:ext cx="510867" cy="352256"/>
            </a:xfrm>
            <a:prstGeom prst="rect">
              <a:avLst/>
            </a:prstGeom>
          </p:spPr>
        </p:pic>
        <p:pic>
          <p:nvPicPr>
            <p:cNvPr id="666" name="Imagen 665">
              <a:extLst>
                <a:ext uri="{FF2B5EF4-FFF2-40B4-BE49-F238E27FC236}">
                  <a16:creationId xmlns:a16="http://schemas.microsoft.com/office/drawing/2014/main" id="{30FF3448-B35C-1363-2A3D-E9791AB7CE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97141" y="3064771"/>
              <a:ext cx="510867" cy="352256"/>
            </a:xfrm>
            <a:prstGeom prst="rect">
              <a:avLst/>
            </a:prstGeom>
          </p:spPr>
        </p:pic>
        <p:pic>
          <p:nvPicPr>
            <p:cNvPr id="667" name="Imagen 666">
              <a:extLst>
                <a:ext uri="{FF2B5EF4-FFF2-40B4-BE49-F238E27FC236}">
                  <a16:creationId xmlns:a16="http://schemas.microsoft.com/office/drawing/2014/main" id="{BC0397E6-DD0F-54C5-088C-2891B7E1BB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67008" y="3064771"/>
              <a:ext cx="510867" cy="352256"/>
            </a:xfrm>
            <a:prstGeom prst="rect">
              <a:avLst/>
            </a:prstGeom>
          </p:spPr>
        </p:pic>
        <p:pic>
          <p:nvPicPr>
            <p:cNvPr id="668" name="Imagen 667">
              <a:extLst>
                <a:ext uri="{FF2B5EF4-FFF2-40B4-BE49-F238E27FC236}">
                  <a16:creationId xmlns:a16="http://schemas.microsoft.com/office/drawing/2014/main" id="{826293B6-92AB-27AD-D4B2-4F8C1055AB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36874" y="3064771"/>
              <a:ext cx="510867" cy="352256"/>
            </a:xfrm>
            <a:prstGeom prst="rect">
              <a:avLst/>
            </a:prstGeom>
          </p:spPr>
        </p:pic>
        <p:pic>
          <p:nvPicPr>
            <p:cNvPr id="669" name="Imagen 668">
              <a:extLst>
                <a:ext uri="{FF2B5EF4-FFF2-40B4-BE49-F238E27FC236}">
                  <a16:creationId xmlns:a16="http://schemas.microsoft.com/office/drawing/2014/main" id="{A023EAB9-E70B-5489-7376-6E4DF145D1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06741" y="3064771"/>
              <a:ext cx="510867" cy="352256"/>
            </a:xfrm>
            <a:prstGeom prst="rect">
              <a:avLst/>
            </a:prstGeom>
          </p:spPr>
        </p:pic>
        <p:pic>
          <p:nvPicPr>
            <p:cNvPr id="670" name="Imagen 669">
              <a:extLst>
                <a:ext uri="{FF2B5EF4-FFF2-40B4-BE49-F238E27FC236}">
                  <a16:creationId xmlns:a16="http://schemas.microsoft.com/office/drawing/2014/main" id="{7E61C205-2078-070C-E65C-03213188FE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76608" y="3064771"/>
              <a:ext cx="510867" cy="352256"/>
            </a:xfrm>
            <a:prstGeom prst="rect">
              <a:avLst/>
            </a:prstGeom>
          </p:spPr>
        </p:pic>
        <p:pic>
          <p:nvPicPr>
            <p:cNvPr id="671" name="Imagen 670">
              <a:extLst>
                <a:ext uri="{FF2B5EF4-FFF2-40B4-BE49-F238E27FC236}">
                  <a16:creationId xmlns:a16="http://schemas.microsoft.com/office/drawing/2014/main" id="{ECB7C007-FB79-279A-97AE-DC5F29AFF9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46475" y="3064771"/>
              <a:ext cx="510867" cy="352256"/>
            </a:xfrm>
            <a:prstGeom prst="rect">
              <a:avLst/>
            </a:prstGeom>
          </p:spPr>
        </p:pic>
        <p:pic>
          <p:nvPicPr>
            <p:cNvPr id="672" name="Imagen 671">
              <a:extLst>
                <a:ext uri="{FF2B5EF4-FFF2-40B4-BE49-F238E27FC236}">
                  <a16:creationId xmlns:a16="http://schemas.microsoft.com/office/drawing/2014/main" id="{14877E9D-FB24-D540-72EA-42DC19A4BD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16341" y="3064771"/>
              <a:ext cx="510867" cy="352256"/>
            </a:xfrm>
            <a:prstGeom prst="rect">
              <a:avLst/>
            </a:prstGeom>
          </p:spPr>
        </p:pic>
        <p:pic>
          <p:nvPicPr>
            <p:cNvPr id="673" name="Imagen 672">
              <a:extLst>
                <a:ext uri="{FF2B5EF4-FFF2-40B4-BE49-F238E27FC236}">
                  <a16:creationId xmlns:a16="http://schemas.microsoft.com/office/drawing/2014/main" id="{41327635-6C27-9738-094B-A8483C73D5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83521" y="3064771"/>
              <a:ext cx="510867" cy="352256"/>
            </a:xfrm>
            <a:prstGeom prst="rect">
              <a:avLst/>
            </a:prstGeom>
          </p:spPr>
        </p:pic>
        <p:pic>
          <p:nvPicPr>
            <p:cNvPr id="674" name="Imagen 673">
              <a:extLst>
                <a:ext uri="{FF2B5EF4-FFF2-40B4-BE49-F238E27FC236}">
                  <a16:creationId xmlns:a16="http://schemas.microsoft.com/office/drawing/2014/main" id="{67150170-11BB-6191-5FD9-3496C06B6D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37267" y="3064771"/>
              <a:ext cx="510867" cy="352256"/>
            </a:xfrm>
            <a:prstGeom prst="rect">
              <a:avLst/>
            </a:prstGeom>
          </p:spPr>
        </p:pic>
        <p:pic>
          <p:nvPicPr>
            <p:cNvPr id="675" name="Imagen 674">
              <a:extLst>
                <a:ext uri="{FF2B5EF4-FFF2-40B4-BE49-F238E27FC236}">
                  <a16:creationId xmlns:a16="http://schemas.microsoft.com/office/drawing/2014/main" id="{FA50D95E-753B-99A4-3888-DF5B14386B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07134" y="3064771"/>
              <a:ext cx="510867" cy="352256"/>
            </a:xfrm>
            <a:prstGeom prst="rect">
              <a:avLst/>
            </a:prstGeom>
          </p:spPr>
        </p:pic>
        <p:pic>
          <p:nvPicPr>
            <p:cNvPr id="676" name="Imagen 675">
              <a:extLst>
                <a:ext uri="{FF2B5EF4-FFF2-40B4-BE49-F238E27FC236}">
                  <a16:creationId xmlns:a16="http://schemas.microsoft.com/office/drawing/2014/main" id="{04D4BE98-0A8C-D7A8-6E72-5CB8AFAB5E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68941" y="3064771"/>
              <a:ext cx="510867" cy="352256"/>
            </a:xfrm>
            <a:prstGeom prst="rect">
              <a:avLst/>
            </a:prstGeom>
          </p:spPr>
        </p:pic>
        <p:pic>
          <p:nvPicPr>
            <p:cNvPr id="677" name="Imagen 676">
              <a:extLst>
                <a:ext uri="{FF2B5EF4-FFF2-40B4-BE49-F238E27FC236}">
                  <a16:creationId xmlns:a16="http://schemas.microsoft.com/office/drawing/2014/main" id="{BD5D95CB-7323-0098-7079-FE4E581075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41494" y="3064771"/>
              <a:ext cx="510867" cy="352256"/>
            </a:xfrm>
            <a:prstGeom prst="rect">
              <a:avLst/>
            </a:prstGeom>
          </p:spPr>
        </p:pic>
        <p:pic>
          <p:nvPicPr>
            <p:cNvPr id="678" name="Imagen 677">
              <a:extLst>
                <a:ext uri="{FF2B5EF4-FFF2-40B4-BE49-F238E27FC236}">
                  <a16:creationId xmlns:a16="http://schemas.microsoft.com/office/drawing/2014/main" id="{AA06829A-96CF-BC85-425B-7D25234189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09048" y="3064771"/>
              <a:ext cx="510867" cy="352256"/>
            </a:xfrm>
            <a:prstGeom prst="rect">
              <a:avLst/>
            </a:prstGeom>
          </p:spPr>
        </p:pic>
        <p:pic>
          <p:nvPicPr>
            <p:cNvPr id="679" name="Imagen 678">
              <a:extLst>
                <a:ext uri="{FF2B5EF4-FFF2-40B4-BE49-F238E27FC236}">
                  <a16:creationId xmlns:a16="http://schemas.microsoft.com/office/drawing/2014/main" id="{702DE761-9808-46A1-9DE5-D8FD8A1C2C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53492" y="2563088"/>
              <a:ext cx="540363" cy="344552"/>
            </a:xfrm>
            <a:prstGeom prst="rect">
              <a:avLst/>
            </a:prstGeom>
          </p:spPr>
        </p:pic>
        <p:pic>
          <p:nvPicPr>
            <p:cNvPr id="680" name="Imagen 679">
              <a:extLst>
                <a:ext uri="{FF2B5EF4-FFF2-40B4-BE49-F238E27FC236}">
                  <a16:creationId xmlns:a16="http://schemas.microsoft.com/office/drawing/2014/main" id="{5805C38E-DA4F-CC93-5FE6-89CAB12686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23358" y="2563088"/>
              <a:ext cx="540363" cy="344552"/>
            </a:xfrm>
            <a:prstGeom prst="rect">
              <a:avLst/>
            </a:prstGeom>
          </p:spPr>
        </p:pic>
        <p:pic>
          <p:nvPicPr>
            <p:cNvPr id="681" name="Imagen 680">
              <a:extLst>
                <a:ext uri="{FF2B5EF4-FFF2-40B4-BE49-F238E27FC236}">
                  <a16:creationId xmlns:a16="http://schemas.microsoft.com/office/drawing/2014/main" id="{FFC262E2-76DF-2000-4BA6-A39F398E59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93225" y="2563088"/>
              <a:ext cx="540363" cy="344552"/>
            </a:xfrm>
            <a:prstGeom prst="rect">
              <a:avLst/>
            </a:prstGeom>
          </p:spPr>
        </p:pic>
        <p:pic>
          <p:nvPicPr>
            <p:cNvPr id="682" name="Imagen 681">
              <a:extLst>
                <a:ext uri="{FF2B5EF4-FFF2-40B4-BE49-F238E27FC236}">
                  <a16:creationId xmlns:a16="http://schemas.microsoft.com/office/drawing/2014/main" id="{97883183-7146-3AAD-757D-EA3B82EA37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63410" y="2555384"/>
              <a:ext cx="510867" cy="352256"/>
            </a:xfrm>
            <a:prstGeom prst="rect">
              <a:avLst/>
            </a:prstGeom>
          </p:spPr>
        </p:pic>
        <p:pic>
          <p:nvPicPr>
            <p:cNvPr id="683" name="Imagen 682">
              <a:extLst>
                <a:ext uri="{FF2B5EF4-FFF2-40B4-BE49-F238E27FC236}">
                  <a16:creationId xmlns:a16="http://schemas.microsoft.com/office/drawing/2014/main" id="{0A1C9F58-C083-7C60-2E37-6B96934215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33277" y="2555384"/>
              <a:ext cx="510867" cy="352256"/>
            </a:xfrm>
            <a:prstGeom prst="rect">
              <a:avLst/>
            </a:prstGeom>
          </p:spPr>
        </p:pic>
        <p:pic>
          <p:nvPicPr>
            <p:cNvPr id="684" name="Imagen 683">
              <a:extLst>
                <a:ext uri="{FF2B5EF4-FFF2-40B4-BE49-F238E27FC236}">
                  <a16:creationId xmlns:a16="http://schemas.microsoft.com/office/drawing/2014/main" id="{19F4424B-CF9D-8A31-5DBC-24FF32B548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03143" y="2555384"/>
              <a:ext cx="510867" cy="352256"/>
            </a:xfrm>
            <a:prstGeom prst="rect">
              <a:avLst/>
            </a:prstGeom>
          </p:spPr>
        </p:pic>
        <p:pic>
          <p:nvPicPr>
            <p:cNvPr id="685" name="Imagen 684">
              <a:extLst>
                <a:ext uri="{FF2B5EF4-FFF2-40B4-BE49-F238E27FC236}">
                  <a16:creationId xmlns:a16="http://schemas.microsoft.com/office/drawing/2014/main" id="{25CB0759-D871-9806-F0FE-07B219E7CC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73010" y="2555384"/>
              <a:ext cx="510867" cy="352256"/>
            </a:xfrm>
            <a:prstGeom prst="rect">
              <a:avLst/>
            </a:prstGeom>
          </p:spPr>
        </p:pic>
        <p:pic>
          <p:nvPicPr>
            <p:cNvPr id="686" name="Imagen 685">
              <a:extLst>
                <a:ext uri="{FF2B5EF4-FFF2-40B4-BE49-F238E27FC236}">
                  <a16:creationId xmlns:a16="http://schemas.microsoft.com/office/drawing/2014/main" id="{D8879074-6B64-5CDC-082F-E683A55324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42877" y="2555384"/>
              <a:ext cx="510867" cy="352256"/>
            </a:xfrm>
            <a:prstGeom prst="rect">
              <a:avLst/>
            </a:prstGeom>
          </p:spPr>
        </p:pic>
        <p:pic>
          <p:nvPicPr>
            <p:cNvPr id="687" name="Imagen 686">
              <a:extLst>
                <a:ext uri="{FF2B5EF4-FFF2-40B4-BE49-F238E27FC236}">
                  <a16:creationId xmlns:a16="http://schemas.microsoft.com/office/drawing/2014/main" id="{999A4914-68CF-5F2E-A3BA-42E3EF4784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12743" y="2555384"/>
              <a:ext cx="510867" cy="352256"/>
            </a:xfrm>
            <a:prstGeom prst="rect">
              <a:avLst/>
            </a:prstGeom>
          </p:spPr>
        </p:pic>
        <p:pic>
          <p:nvPicPr>
            <p:cNvPr id="688" name="Imagen 687">
              <a:extLst>
                <a:ext uri="{FF2B5EF4-FFF2-40B4-BE49-F238E27FC236}">
                  <a16:creationId xmlns:a16="http://schemas.microsoft.com/office/drawing/2014/main" id="{5941341C-611A-786F-61F8-7987BD656C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82610" y="2555384"/>
              <a:ext cx="510867" cy="352256"/>
            </a:xfrm>
            <a:prstGeom prst="rect">
              <a:avLst/>
            </a:prstGeom>
          </p:spPr>
        </p:pic>
        <p:pic>
          <p:nvPicPr>
            <p:cNvPr id="689" name="Imagen 688">
              <a:extLst>
                <a:ext uri="{FF2B5EF4-FFF2-40B4-BE49-F238E27FC236}">
                  <a16:creationId xmlns:a16="http://schemas.microsoft.com/office/drawing/2014/main" id="{CE319DFF-88DF-C0BD-D791-7DFB281468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52477" y="2555384"/>
              <a:ext cx="510867" cy="352256"/>
            </a:xfrm>
            <a:prstGeom prst="rect">
              <a:avLst/>
            </a:prstGeom>
          </p:spPr>
        </p:pic>
        <p:pic>
          <p:nvPicPr>
            <p:cNvPr id="690" name="Imagen 689">
              <a:extLst>
                <a:ext uri="{FF2B5EF4-FFF2-40B4-BE49-F238E27FC236}">
                  <a16:creationId xmlns:a16="http://schemas.microsoft.com/office/drawing/2014/main" id="{5180271D-CEDB-7847-8528-55FDF3CDA2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22344" y="2555384"/>
              <a:ext cx="510867" cy="352256"/>
            </a:xfrm>
            <a:prstGeom prst="rect">
              <a:avLst/>
            </a:prstGeom>
          </p:spPr>
        </p:pic>
        <p:pic>
          <p:nvPicPr>
            <p:cNvPr id="691" name="Imagen 690">
              <a:extLst>
                <a:ext uri="{FF2B5EF4-FFF2-40B4-BE49-F238E27FC236}">
                  <a16:creationId xmlns:a16="http://schemas.microsoft.com/office/drawing/2014/main" id="{DCB93AEC-798C-6E85-F6EE-C5A45B9AD1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92210" y="2555384"/>
              <a:ext cx="510867" cy="352256"/>
            </a:xfrm>
            <a:prstGeom prst="rect">
              <a:avLst/>
            </a:prstGeom>
          </p:spPr>
        </p:pic>
        <p:pic>
          <p:nvPicPr>
            <p:cNvPr id="692" name="Imagen 691">
              <a:extLst>
                <a:ext uri="{FF2B5EF4-FFF2-40B4-BE49-F238E27FC236}">
                  <a16:creationId xmlns:a16="http://schemas.microsoft.com/office/drawing/2014/main" id="{FA26FB8A-1F13-A647-6590-7573CA4192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62077" y="2555384"/>
              <a:ext cx="510867" cy="352256"/>
            </a:xfrm>
            <a:prstGeom prst="rect">
              <a:avLst/>
            </a:prstGeom>
          </p:spPr>
        </p:pic>
        <p:pic>
          <p:nvPicPr>
            <p:cNvPr id="693" name="Imagen 692">
              <a:extLst>
                <a:ext uri="{FF2B5EF4-FFF2-40B4-BE49-F238E27FC236}">
                  <a16:creationId xmlns:a16="http://schemas.microsoft.com/office/drawing/2014/main" id="{378D5DC4-45EE-ADA6-A5FB-A4173BBD2C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31944" y="2555384"/>
              <a:ext cx="510867" cy="352256"/>
            </a:xfrm>
            <a:prstGeom prst="rect">
              <a:avLst/>
            </a:prstGeom>
          </p:spPr>
        </p:pic>
        <p:pic>
          <p:nvPicPr>
            <p:cNvPr id="694" name="Imagen 693">
              <a:extLst>
                <a:ext uri="{FF2B5EF4-FFF2-40B4-BE49-F238E27FC236}">
                  <a16:creationId xmlns:a16="http://schemas.microsoft.com/office/drawing/2014/main" id="{4C19E1AF-F2EE-53CD-F804-236593C961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01810" y="2555384"/>
              <a:ext cx="510867" cy="352256"/>
            </a:xfrm>
            <a:prstGeom prst="rect">
              <a:avLst/>
            </a:prstGeom>
          </p:spPr>
        </p:pic>
        <p:pic>
          <p:nvPicPr>
            <p:cNvPr id="695" name="Imagen 694">
              <a:extLst>
                <a:ext uri="{FF2B5EF4-FFF2-40B4-BE49-F238E27FC236}">
                  <a16:creationId xmlns:a16="http://schemas.microsoft.com/office/drawing/2014/main" id="{C831C19A-150C-BDAF-D0EC-78E5EA7DB8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71677" y="2555384"/>
              <a:ext cx="510867" cy="352256"/>
            </a:xfrm>
            <a:prstGeom prst="rect">
              <a:avLst/>
            </a:prstGeom>
          </p:spPr>
        </p:pic>
        <p:pic>
          <p:nvPicPr>
            <p:cNvPr id="696" name="Imagen 695">
              <a:extLst>
                <a:ext uri="{FF2B5EF4-FFF2-40B4-BE49-F238E27FC236}">
                  <a16:creationId xmlns:a16="http://schemas.microsoft.com/office/drawing/2014/main" id="{9772EAE7-D8C5-BC34-4D9A-13132E1E75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41544" y="2555384"/>
              <a:ext cx="510867" cy="352256"/>
            </a:xfrm>
            <a:prstGeom prst="rect">
              <a:avLst/>
            </a:prstGeom>
          </p:spPr>
        </p:pic>
        <p:pic>
          <p:nvPicPr>
            <p:cNvPr id="697" name="Imagen 696">
              <a:extLst>
                <a:ext uri="{FF2B5EF4-FFF2-40B4-BE49-F238E27FC236}">
                  <a16:creationId xmlns:a16="http://schemas.microsoft.com/office/drawing/2014/main" id="{9F94129A-9F8F-C960-E831-2CFBEEE3E0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11411" y="2555384"/>
              <a:ext cx="510867" cy="352256"/>
            </a:xfrm>
            <a:prstGeom prst="rect">
              <a:avLst/>
            </a:prstGeom>
          </p:spPr>
        </p:pic>
        <p:pic>
          <p:nvPicPr>
            <p:cNvPr id="698" name="Imagen 697">
              <a:extLst>
                <a:ext uri="{FF2B5EF4-FFF2-40B4-BE49-F238E27FC236}">
                  <a16:creationId xmlns:a16="http://schemas.microsoft.com/office/drawing/2014/main" id="{9CFC8433-E25C-DADB-4C1D-236E59645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81277" y="2555384"/>
              <a:ext cx="510867" cy="352256"/>
            </a:xfrm>
            <a:prstGeom prst="rect">
              <a:avLst/>
            </a:prstGeom>
          </p:spPr>
        </p:pic>
        <p:pic>
          <p:nvPicPr>
            <p:cNvPr id="699" name="Imagen 698">
              <a:extLst>
                <a:ext uri="{FF2B5EF4-FFF2-40B4-BE49-F238E27FC236}">
                  <a16:creationId xmlns:a16="http://schemas.microsoft.com/office/drawing/2014/main" id="{0C298697-0C63-2168-F538-84CE1288B6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51144" y="2555384"/>
              <a:ext cx="510867" cy="352256"/>
            </a:xfrm>
            <a:prstGeom prst="rect">
              <a:avLst/>
            </a:prstGeom>
          </p:spPr>
        </p:pic>
        <p:pic>
          <p:nvPicPr>
            <p:cNvPr id="700" name="Imagen 699">
              <a:extLst>
                <a:ext uri="{FF2B5EF4-FFF2-40B4-BE49-F238E27FC236}">
                  <a16:creationId xmlns:a16="http://schemas.microsoft.com/office/drawing/2014/main" id="{03EE71A5-6AA7-91A9-8767-A0AF253537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18324" y="2555384"/>
              <a:ext cx="510867" cy="352256"/>
            </a:xfrm>
            <a:prstGeom prst="rect">
              <a:avLst/>
            </a:prstGeom>
          </p:spPr>
        </p:pic>
        <p:pic>
          <p:nvPicPr>
            <p:cNvPr id="701" name="Imagen 700">
              <a:extLst>
                <a:ext uri="{FF2B5EF4-FFF2-40B4-BE49-F238E27FC236}">
                  <a16:creationId xmlns:a16="http://schemas.microsoft.com/office/drawing/2014/main" id="{DCF6D24A-B745-F730-3DF8-FCDC194718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72070" y="2555384"/>
              <a:ext cx="510867" cy="352256"/>
            </a:xfrm>
            <a:prstGeom prst="rect">
              <a:avLst/>
            </a:prstGeom>
          </p:spPr>
        </p:pic>
        <p:pic>
          <p:nvPicPr>
            <p:cNvPr id="702" name="Imagen 701">
              <a:extLst>
                <a:ext uri="{FF2B5EF4-FFF2-40B4-BE49-F238E27FC236}">
                  <a16:creationId xmlns:a16="http://schemas.microsoft.com/office/drawing/2014/main" id="{E5467378-3DFD-01FB-387A-5008BFD136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41937" y="2555384"/>
              <a:ext cx="510867" cy="352256"/>
            </a:xfrm>
            <a:prstGeom prst="rect">
              <a:avLst/>
            </a:prstGeom>
          </p:spPr>
        </p:pic>
        <p:pic>
          <p:nvPicPr>
            <p:cNvPr id="703" name="Imagen 702">
              <a:extLst>
                <a:ext uri="{FF2B5EF4-FFF2-40B4-BE49-F238E27FC236}">
                  <a16:creationId xmlns:a16="http://schemas.microsoft.com/office/drawing/2014/main" id="{84A5817E-5D38-0BF9-E366-F3D5928A9A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03743" y="2555384"/>
              <a:ext cx="510867" cy="352256"/>
            </a:xfrm>
            <a:prstGeom prst="rect">
              <a:avLst/>
            </a:prstGeom>
          </p:spPr>
        </p:pic>
        <p:pic>
          <p:nvPicPr>
            <p:cNvPr id="704" name="Imagen 703">
              <a:extLst>
                <a:ext uri="{FF2B5EF4-FFF2-40B4-BE49-F238E27FC236}">
                  <a16:creationId xmlns:a16="http://schemas.microsoft.com/office/drawing/2014/main" id="{D386A2CA-EA64-3887-F15E-898449F8AE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76297" y="2555384"/>
              <a:ext cx="510867" cy="352256"/>
            </a:xfrm>
            <a:prstGeom prst="rect">
              <a:avLst/>
            </a:prstGeom>
          </p:spPr>
        </p:pic>
        <p:pic>
          <p:nvPicPr>
            <p:cNvPr id="705" name="Imagen 704">
              <a:extLst>
                <a:ext uri="{FF2B5EF4-FFF2-40B4-BE49-F238E27FC236}">
                  <a16:creationId xmlns:a16="http://schemas.microsoft.com/office/drawing/2014/main" id="{640A8AB5-885D-91C3-5398-12C946AAC6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43851" y="2555384"/>
              <a:ext cx="510867" cy="352256"/>
            </a:xfrm>
            <a:prstGeom prst="rect">
              <a:avLst/>
            </a:prstGeom>
          </p:spPr>
        </p:pic>
        <p:pic>
          <p:nvPicPr>
            <p:cNvPr id="706" name="Imagen 705">
              <a:extLst>
                <a:ext uri="{FF2B5EF4-FFF2-40B4-BE49-F238E27FC236}">
                  <a16:creationId xmlns:a16="http://schemas.microsoft.com/office/drawing/2014/main" id="{05BCD414-CB93-EBDB-DDF2-404BCE4A59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86378" y="2057226"/>
              <a:ext cx="510867" cy="352256"/>
            </a:xfrm>
            <a:prstGeom prst="rect">
              <a:avLst/>
            </a:prstGeom>
          </p:spPr>
        </p:pic>
        <p:pic>
          <p:nvPicPr>
            <p:cNvPr id="707" name="Imagen 706">
              <a:extLst>
                <a:ext uri="{FF2B5EF4-FFF2-40B4-BE49-F238E27FC236}">
                  <a16:creationId xmlns:a16="http://schemas.microsoft.com/office/drawing/2014/main" id="{96A01E0C-EAEF-38D5-7809-EA3FEFA329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833615" y="3075382"/>
              <a:ext cx="510867" cy="352256"/>
            </a:xfrm>
            <a:prstGeom prst="rect">
              <a:avLst/>
            </a:prstGeom>
          </p:spPr>
        </p:pic>
        <p:pic>
          <p:nvPicPr>
            <p:cNvPr id="708" name="Imagen 707">
              <a:extLst>
                <a:ext uri="{FF2B5EF4-FFF2-40B4-BE49-F238E27FC236}">
                  <a16:creationId xmlns:a16="http://schemas.microsoft.com/office/drawing/2014/main" id="{792C45A6-2CCD-3D77-30B5-C65DF6322C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06706" y="2059225"/>
              <a:ext cx="510867" cy="352256"/>
            </a:xfrm>
            <a:prstGeom prst="rect">
              <a:avLst/>
            </a:prstGeom>
          </p:spPr>
        </p:pic>
        <p:pic>
          <p:nvPicPr>
            <p:cNvPr id="709" name="Imagen 708">
              <a:extLst>
                <a:ext uri="{FF2B5EF4-FFF2-40B4-BE49-F238E27FC236}">
                  <a16:creationId xmlns:a16="http://schemas.microsoft.com/office/drawing/2014/main" id="{8ABF4785-DA94-CF54-598B-428BD7984D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35671" y="2059225"/>
              <a:ext cx="510867" cy="352256"/>
            </a:xfrm>
            <a:prstGeom prst="rect">
              <a:avLst/>
            </a:prstGeom>
          </p:spPr>
        </p:pic>
        <p:pic>
          <p:nvPicPr>
            <p:cNvPr id="710" name="Imagen 709">
              <a:extLst>
                <a:ext uri="{FF2B5EF4-FFF2-40B4-BE49-F238E27FC236}">
                  <a16:creationId xmlns:a16="http://schemas.microsoft.com/office/drawing/2014/main" id="{7D1E8E36-083C-D9A1-B76F-919E1B2FC1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30451" y="2059225"/>
              <a:ext cx="510867" cy="352256"/>
            </a:xfrm>
            <a:prstGeom prst="rect">
              <a:avLst/>
            </a:prstGeom>
          </p:spPr>
        </p:pic>
        <p:pic>
          <p:nvPicPr>
            <p:cNvPr id="711" name="Imagen 710">
              <a:extLst>
                <a:ext uri="{FF2B5EF4-FFF2-40B4-BE49-F238E27FC236}">
                  <a16:creationId xmlns:a16="http://schemas.microsoft.com/office/drawing/2014/main" id="{27DABE5A-C13D-AAFB-B476-ECF15B2A77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59415" y="2059225"/>
              <a:ext cx="510867" cy="352256"/>
            </a:xfrm>
            <a:prstGeom prst="rect">
              <a:avLst/>
            </a:prstGeom>
          </p:spPr>
        </p:pic>
        <p:pic>
          <p:nvPicPr>
            <p:cNvPr id="712" name="Imagen 711">
              <a:extLst>
                <a:ext uri="{FF2B5EF4-FFF2-40B4-BE49-F238E27FC236}">
                  <a16:creationId xmlns:a16="http://schemas.microsoft.com/office/drawing/2014/main" id="{7CEEE10F-03DA-1273-C0B6-5FF1833A94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88379" y="2059225"/>
              <a:ext cx="510867" cy="352256"/>
            </a:xfrm>
            <a:prstGeom prst="rect">
              <a:avLst/>
            </a:prstGeom>
          </p:spPr>
        </p:pic>
        <p:pic>
          <p:nvPicPr>
            <p:cNvPr id="713" name="Imagen 712">
              <a:extLst>
                <a:ext uri="{FF2B5EF4-FFF2-40B4-BE49-F238E27FC236}">
                  <a16:creationId xmlns:a16="http://schemas.microsoft.com/office/drawing/2014/main" id="{054A9A8C-19E5-EEC6-1A74-D7A22F994C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41693" y="2059225"/>
              <a:ext cx="510867" cy="352256"/>
            </a:xfrm>
            <a:prstGeom prst="rect">
              <a:avLst/>
            </a:prstGeom>
          </p:spPr>
        </p:pic>
        <p:pic>
          <p:nvPicPr>
            <p:cNvPr id="714" name="Imagen 713">
              <a:extLst>
                <a:ext uri="{FF2B5EF4-FFF2-40B4-BE49-F238E27FC236}">
                  <a16:creationId xmlns:a16="http://schemas.microsoft.com/office/drawing/2014/main" id="{074D3087-C66B-1ED1-1777-B9588F4383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68835" y="2059225"/>
              <a:ext cx="510867" cy="352256"/>
            </a:xfrm>
            <a:prstGeom prst="rect">
              <a:avLst/>
            </a:prstGeom>
          </p:spPr>
        </p:pic>
        <p:pic>
          <p:nvPicPr>
            <p:cNvPr id="715" name="Imagen 714">
              <a:extLst>
                <a:ext uri="{FF2B5EF4-FFF2-40B4-BE49-F238E27FC236}">
                  <a16:creationId xmlns:a16="http://schemas.microsoft.com/office/drawing/2014/main" id="{67ED2755-871F-ADA0-A5DA-99A78C06DE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04708" y="2059225"/>
              <a:ext cx="510867" cy="352256"/>
            </a:xfrm>
            <a:prstGeom prst="rect">
              <a:avLst/>
            </a:prstGeom>
          </p:spPr>
        </p:pic>
        <p:pic>
          <p:nvPicPr>
            <p:cNvPr id="716" name="Imagen 715">
              <a:extLst>
                <a:ext uri="{FF2B5EF4-FFF2-40B4-BE49-F238E27FC236}">
                  <a16:creationId xmlns:a16="http://schemas.microsoft.com/office/drawing/2014/main" id="{001B194B-91A9-2B31-AF67-9CE2526393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92575" y="2059225"/>
              <a:ext cx="510867" cy="352256"/>
            </a:xfrm>
            <a:prstGeom prst="rect">
              <a:avLst/>
            </a:prstGeom>
          </p:spPr>
        </p:pic>
        <p:pic>
          <p:nvPicPr>
            <p:cNvPr id="717" name="Imagen 716">
              <a:extLst>
                <a:ext uri="{FF2B5EF4-FFF2-40B4-BE49-F238E27FC236}">
                  <a16:creationId xmlns:a16="http://schemas.microsoft.com/office/drawing/2014/main" id="{17AADECF-8FEB-5E99-76AD-0CF5974C14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14631" y="2059225"/>
              <a:ext cx="510867" cy="352256"/>
            </a:xfrm>
            <a:prstGeom prst="rect">
              <a:avLst/>
            </a:prstGeom>
          </p:spPr>
        </p:pic>
        <p:pic>
          <p:nvPicPr>
            <p:cNvPr id="718" name="Imagen 717">
              <a:extLst>
                <a:ext uri="{FF2B5EF4-FFF2-40B4-BE49-F238E27FC236}">
                  <a16:creationId xmlns:a16="http://schemas.microsoft.com/office/drawing/2014/main" id="{1B2B8823-95F7-B5FB-3C18-CCB0921173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689" t="77309" r="51185" b="12393"/>
            <a:stretch/>
          </p:blipFill>
          <p:spPr>
            <a:xfrm>
              <a:off x="4807137" y="4009594"/>
              <a:ext cx="513372" cy="320388"/>
            </a:xfrm>
            <a:prstGeom prst="rect">
              <a:avLst/>
            </a:prstGeom>
          </p:spPr>
        </p:pic>
        <p:pic>
          <p:nvPicPr>
            <p:cNvPr id="719" name="Imagen 718">
              <a:extLst>
                <a:ext uri="{FF2B5EF4-FFF2-40B4-BE49-F238E27FC236}">
                  <a16:creationId xmlns:a16="http://schemas.microsoft.com/office/drawing/2014/main" id="{413C9D83-F3E1-22D6-A42F-4D6F5F1226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806575" y="4151017"/>
              <a:ext cx="540363" cy="344552"/>
            </a:xfrm>
            <a:prstGeom prst="rect">
              <a:avLst/>
            </a:prstGeom>
          </p:spPr>
        </p:pic>
        <p:pic>
          <p:nvPicPr>
            <p:cNvPr id="720" name="Imagen 719">
              <a:extLst>
                <a:ext uri="{FF2B5EF4-FFF2-40B4-BE49-F238E27FC236}">
                  <a16:creationId xmlns:a16="http://schemas.microsoft.com/office/drawing/2014/main" id="{93230D84-F746-2909-D258-6EAF8FD53C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689" t="-307" b="11482"/>
            <a:stretch/>
          </p:blipFill>
          <p:spPr>
            <a:xfrm>
              <a:off x="4820448" y="1731964"/>
              <a:ext cx="3108387" cy="2763605"/>
            </a:xfrm>
            <a:prstGeom prst="rect">
              <a:avLst/>
            </a:prstGeom>
          </p:spPr>
        </p:pic>
        <p:pic>
          <p:nvPicPr>
            <p:cNvPr id="721" name="Imagen 720">
              <a:extLst>
                <a:ext uri="{FF2B5EF4-FFF2-40B4-BE49-F238E27FC236}">
                  <a16:creationId xmlns:a16="http://schemas.microsoft.com/office/drawing/2014/main" id="{94AF6116-FD69-3906-4BE4-19414FC824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689" t="77309" r="51185" b="19320"/>
            <a:stretch/>
          </p:blipFill>
          <p:spPr>
            <a:xfrm>
              <a:off x="4830880" y="4017569"/>
              <a:ext cx="513372" cy="104873"/>
            </a:xfrm>
            <a:prstGeom prst="rect">
              <a:avLst/>
            </a:prstGeom>
          </p:spPr>
        </p:pic>
        <p:pic>
          <p:nvPicPr>
            <p:cNvPr id="722" name="Imagen 721">
              <a:extLst>
                <a:ext uri="{FF2B5EF4-FFF2-40B4-BE49-F238E27FC236}">
                  <a16:creationId xmlns:a16="http://schemas.microsoft.com/office/drawing/2014/main" id="{0AF48FCA-B5BC-D7E5-28F5-13BB8CDAAD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689" t="25757" r="51235" b="62921"/>
            <a:stretch/>
          </p:blipFill>
          <p:spPr>
            <a:xfrm>
              <a:off x="4829422" y="2042294"/>
              <a:ext cx="510867" cy="352256"/>
            </a:xfrm>
            <a:prstGeom prst="rect">
              <a:avLst/>
            </a:prstGeom>
          </p:spPr>
        </p:pic>
        <p:grpSp>
          <p:nvGrpSpPr>
            <p:cNvPr id="723" name="Grupo 722">
              <a:extLst>
                <a:ext uri="{FF2B5EF4-FFF2-40B4-BE49-F238E27FC236}">
                  <a16:creationId xmlns:a16="http://schemas.microsoft.com/office/drawing/2014/main" id="{FD83F08B-7CA5-6127-6333-B2068DBE8D42}"/>
                </a:ext>
              </a:extLst>
            </p:cNvPr>
            <p:cNvGrpSpPr/>
            <p:nvPr/>
          </p:nvGrpSpPr>
          <p:grpSpPr>
            <a:xfrm>
              <a:off x="4537884" y="1511265"/>
              <a:ext cx="802814" cy="292647"/>
              <a:chOff x="5265989" y="1251069"/>
              <a:chExt cx="948703" cy="345827"/>
            </a:xfrm>
          </p:grpSpPr>
          <p:pic>
            <p:nvPicPr>
              <p:cNvPr id="742" name="Imagen 741">
                <a:extLst>
                  <a:ext uri="{FF2B5EF4-FFF2-40B4-BE49-F238E27FC236}">
                    <a16:creationId xmlns:a16="http://schemas.microsoft.com/office/drawing/2014/main" id="{B3CBAD37-17C0-10F5-8FCF-5E634AE2E13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0795" t="82830" r="5062" b="4369"/>
              <a:stretch/>
            </p:blipFill>
            <p:spPr>
              <a:xfrm>
                <a:off x="5265989" y="1251069"/>
                <a:ext cx="583718" cy="345827"/>
              </a:xfrm>
              <a:prstGeom prst="rect">
                <a:avLst/>
              </a:prstGeom>
            </p:spPr>
          </p:pic>
          <p:pic>
            <p:nvPicPr>
              <p:cNvPr id="743" name="Imagen 742">
                <a:extLst>
                  <a:ext uri="{FF2B5EF4-FFF2-40B4-BE49-F238E27FC236}">
                    <a16:creationId xmlns:a16="http://schemas.microsoft.com/office/drawing/2014/main" id="{4EEFD469-BA8C-C73A-DCEE-E58B0BCA1F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0795" t="82830" r="5062" b="4369"/>
              <a:stretch/>
            </p:blipFill>
            <p:spPr>
              <a:xfrm>
                <a:off x="5357235" y="1251069"/>
                <a:ext cx="583718" cy="345827"/>
              </a:xfrm>
              <a:prstGeom prst="rect">
                <a:avLst/>
              </a:prstGeom>
            </p:spPr>
          </p:pic>
          <p:pic>
            <p:nvPicPr>
              <p:cNvPr id="744" name="Imagen 743">
                <a:extLst>
                  <a:ext uri="{FF2B5EF4-FFF2-40B4-BE49-F238E27FC236}">
                    <a16:creationId xmlns:a16="http://schemas.microsoft.com/office/drawing/2014/main" id="{7F7D2C24-B45C-90A0-F18F-FE96DF81428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0795" t="82830" r="5062" b="4369"/>
              <a:stretch/>
            </p:blipFill>
            <p:spPr>
              <a:xfrm>
                <a:off x="5448481" y="1251069"/>
                <a:ext cx="583718" cy="345827"/>
              </a:xfrm>
              <a:prstGeom prst="rect">
                <a:avLst/>
              </a:prstGeom>
            </p:spPr>
          </p:pic>
          <p:pic>
            <p:nvPicPr>
              <p:cNvPr id="745" name="Imagen 744">
                <a:extLst>
                  <a:ext uri="{FF2B5EF4-FFF2-40B4-BE49-F238E27FC236}">
                    <a16:creationId xmlns:a16="http://schemas.microsoft.com/office/drawing/2014/main" id="{AFA5B88B-D819-CBA4-4CC0-3637E23569B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0795" t="82830" r="5062" b="4369"/>
              <a:stretch/>
            </p:blipFill>
            <p:spPr>
              <a:xfrm>
                <a:off x="5539727" y="1251069"/>
                <a:ext cx="583718" cy="345827"/>
              </a:xfrm>
              <a:prstGeom prst="rect">
                <a:avLst/>
              </a:prstGeom>
            </p:spPr>
          </p:pic>
          <p:pic>
            <p:nvPicPr>
              <p:cNvPr id="746" name="Imagen 745">
                <a:extLst>
                  <a:ext uri="{FF2B5EF4-FFF2-40B4-BE49-F238E27FC236}">
                    <a16:creationId xmlns:a16="http://schemas.microsoft.com/office/drawing/2014/main" id="{371F2366-4E2B-1C09-6E85-2493A9DDD63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0795" t="82830" r="5062" b="4369"/>
              <a:stretch/>
            </p:blipFill>
            <p:spPr>
              <a:xfrm>
                <a:off x="5630974" y="1251069"/>
                <a:ext cx="583718" cy="345827"/>
              </a:xfrm>
              <a:prstGeom prst="rect">
                <a:avLst/>
              </a:prstGeom>
            </p:spPr>
          </p:pic>
        </p:grpSp>
        <p:cxnSp>
          <p:nvCxnSpPr>
            <p:cNvPr id="724" name="Conector recto 723">
              <a:extLst>
                <a:ext uri="{FF2B5EF4-FFF2-40B4-BE49-F238E27FC236}">
                  <a16:creationId xmlns:a16="http://schemas.microsoft.com/office/drawing/2014/main" id="{1CE73706-F661-B39C-DC41-59632C053003}"/>
                </a:ext>
              </a:extLst>
            </p:cNvPr>
            <p:cNvCxnSpPr>
              <a:cxnSpLocks/>
            </p:cNvCxnSpPr>
            <p:nvPr/>
          </p:nvCxnSpPr>
          <p:spPr>
            <a:xfrm>
              <a:off x="4538700" y="1615616"/>
              <a:ext cx="3112280" cy="0"/>
            </a:xfrm>
            <a:prstGeom prst="line">
              <a:avLst/>
            </a:prstGeom>
            <a:noFill/>
            <a:ln w="9525" cap="flat" cmpd="sng" algn="ctr">
              <a:solidFill>
                <a:srgbClr val="F1484B"/>
              </a:solidFill>
              <a:prstDash val="solid"/>
              <a:miter lim="800000"/>
            </a:ln>
            <a:effectLst/>
          </p:spPr>
        </p:cxnSp>
        <p:sp>
          <p:nvSpPr>
            <p:cNvPr id="725" name="Elipse 724">
              <a:extLst>
                <a:ext uri="{FF2B5EF4-FFF2-40B4-BE49-F238E27FC236}">
                  <a16:creationId xmlns:a16="http://schemas.microsoft.com/office/drawing/2014/main" id="{94114700-6B94-AAB8-5159-D99F1416413A}"/>
                </a:ext>
              </a:extLst>
            </p:cNvPr>
            <p:cNvSpPr/>
            <p:nvPr/>
          </p:nvSpPr>
          <p:spPr>
            <a:xfrm>
              <a:off x="7621007" y="1592756"/>
              <a:ext cx="45719" cy="45719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solidFill>
                <a:srgbClr val="F148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26" name="Conector recto 725">
              <a:extLst>
                <a:ext uri="{FF2B5EF4-FFF2-40B4-BE49-F238E27FC236}">
                  <a16:creationId xmlns:a16="http://schemas.microsoft.com/office/drawing/2014/main" id="{49A16D9F-6C00-ACE4-2A4E-3BCB9FE4E1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11338" y="1370225"/>
              <a:ext cx="0" cy="3125344"/>
            </a:xfrm>
            <a:prstGeom prst="line">
              <a:avLst/>
            </a:prstGeom>
            <a:noFill/>
            <a:ln w="19050" cap="flat" cmpd="sng" algn="ctr">
              <a:solidFill>
                <a:srgbClr val="003264"/>
              </a:solidFill>
              <a:prstDash val="solid"/>
              <a:miter lim="800000"/>
            </a:ln>
            <a:effectLst/>
          </p:spPr>
        </p:cxnSp>
        <p:sp>
          <p:nvSpPr>
            <p:cNvPr id="727" name="Rectángulo 726">
              <a:extLst>
                <a:ext uri="{FF2B5EF4-FFF2-40B4-BE49-F238E27FC236}">
                  <a16:creationId xmlns:a16="http://schemas.microsoft.com/office/drawing/2014/main" id="{37AB6125-FCCD-9B92-469F-B719A47D5C55}"/>
                </a:ext>
              </a:extLst>
            </p:cNvPr>
            <p:cNvSpPr/>
            <p:nvPr/>
          </p:nvSpPr>
          <p:spPr>
            <a:xfrm>
              <a:off x="5614683" y="2834644"/>
              <a:ext cx="187357" cy="6531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8" name="Rectángulo 727">
              <a:extLst>
                <a:ext uri="{FF2B5EF4-FFF2-40B4-BE49-F238E27FC236}">
                  <a16:creationId xmlns:a16="http://schemas.microsoft.com/office/drawing/2014/main" id="{E3D16BCB-63CF-ED24-5EEB-A49ACB32849F}"/>
                </a:ext>
              </a:extLst>
            </p:cNvPr>
            <p:cNvSpPr/>
            <p:nvPr/>
          </p:nvSpPr>
          <p:spPr>
            <a:xfrm>
              <a:off x="5614683" y="3553589"/>
              <a:ext cx="187357" cy="6531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9" name="Rectángulo 728">
              <a:extLst>
                <a:ext uri="{FF2B5EF4-FFF2-40B4-BE49-F238E27FC236}">
                  <a16:creationId xmlns:a16="http://schemas.microsoft.com/office/drawing/2014/main" id="{489F6E5D-2D3A-4D5B-A095-D9BD87F3448B}"/>
                </a:ext>
              </a:extLst>
            </p:cNvPr>
            <p:cNvSpPr/>
            <p:nvPr/>
          </p:nvSpPr>
          <p:spPr>
            <a:xfrm>
              <a:off x="5614683" y="4099428"/>
              <a:ext cx="187357" cy="6531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0" name="Rectángulo redondeado 6">
              <a:extLst>
                <a:ext uri="{FF2B5EF4-FFF2-40B4-BE49-F238E27FC236}">
                  <a16:creationId xmlns:a16="http://schemas.microsoft.com/office/drawing/2014/main" id="{BBEE7C45-67EB-1C85-3B2E-CCBDE73ADF11}"/>
                </a:ext>
              </a:extLst>
            </p:cNvPr>
            <p:cNvSpPr/>
            <p:nvPr/>
          </p:nvSpPr>
          <p:spPr>
            <a:xfrm>
              <a:off x="5528221" y="2970015"/>
              <a:ext cx="2015556" cy="210734"/>
            </a:xfrm>
            <a:prstGeom prst="roundRect">
              <a:avLst/>
            </a:prstGeom>
            <a:solidFill>
              <a:srgbClr val="FFFFFF"/>
            </a:solidFill>
            <a:ln w="28575">
              <a:noFill/>
            </a:ln>
          </p:spPr>
          <p:txBody>
            <a:bodyPr wrap="square" rIns="48000" anchor="ctr">
              <a:no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cs typeface="Arial" panose="020B0604020202020204" pitchFamily="34" charset="0"/>
                </a:rPr>
                <a:t>Imiquimod 3,75%</a:t>
              </a:r>
              <a:endParaRPr kumimoji="0" lang="es-ES" sz="16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31" name="Rectángulo redondeado 6">
              <a:extLst>
                <a:ext uri="{FF2B5EF4-FFF2-40B4-BE49-F238E27FC236}">
                  <a16:creationId xmlns:a16="http://schemas.microsoft.com/office/drawing/2014/main" id="{11C02321-9783-0850-C597-7BE004DDD08A}"/>
                </a:ext>
              </a:extLst>
            </p:cNvPr>
            <p:cNvSpPr/>
            <p:nvPr/>
          </p:nvSpPr>
          <p:spPr>
            <a:xfrm>
              <a:off x="5533391" y="4084564"/>
              <a:ext cx="1814788" cy="169207"/>
            </a:xfrm>
            <a:prstGeom prst="roundRect">
              <a:avLst/>
            </a:prstGeom>
            <a:solidFill>
              <a:srgbClr val="FFFFFF"/>
            </a:solidFill>
            <a:ln w="28575">
              <a:noFill/>
            </a:ln>
          </p:spPr>
          <p:txBody>
            <a:bodyPr wrap="square" rIns="48000" anchor="ctr">
              <a:no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cs typeface="Arial" panose="020B0604020202020204" pitchFamily="34" charset="0"/>
                </a:rPr>
                <a:t>Diclofenaco 3%</a:t>
              </a:r>
              <a:endParaRPr kumimoji="0" lang="es-ES" sz="16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32" name="Rectángulo redondeado 6">
              <a:extLst>
                <a:ext uri="{FF2B5EF4-FFF2-40B4-BE49-F238E27FC236}">
                  <a16:creationId xmlns:a16="http://schemas.microsoft.com/office/drawing/2014/main" id="{8F452729-F484-29D5-C546-B0B8867CED50}"/>
                </a:ext>
              </a:extLst>
            </p:cNvPr>
            <p:cNvSpPr/>
            <p:nvPr/>
          </p:nvSpPr>
          <p:spPr>
            <a:xfrm>
              <a:off x="5533391" y="2456701"/>
              <a:ext cx="2046423" cy="219332"/>
            </a:xfrm>
            <a:prstGeom prst="roundRect">
              <a:avLst/>
            </a:prstGeom>
            <a:solidFill>
              <a:srgbClr val="FFFFFF"/>
            </a:solidFill>
            <a:ln w="28575">
              <a:noFill/>
            </a:ln>
          </p:spPr>
          <p:txBody>
            <a:bodyPr wrap="square" rIns="48000" anchor="ctr">
              <a:no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cs typeface="Arial" panose="020B0604020202020204" pitchFamily="34" charset="0"/>
                </a:rPr>
                <a:t>5-fluorouracilo 4%</a:t>
              </a:r>
              <a:endParaRPr kumimoji="0" lang="es-ES" sz="16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33" name="Rectángulo redondeado 6">
              <a:extLst>
                <a:ext uri="{FF2B5EF4-FFF2-40B4-BE49-F238E27FC236}">
                  <a16:creationId xmlns:a16="http://schemas.microsoft.com/office/drawing/2014/main" id="{41E0C4FD-F145-457E-D9DE-3EDD081C8335}"/>
                </a:ext>
              </a:extLst>
            </p:cNvPr>
            <p:cNvSpPr/>
            <p:nvPr/>
          </p:nvSpPr>
          <p:spPr>
            <a:xfrm>
              <a:off x="5528221" y="3582956"/>
              <a:ext cx="2035890" cy="179462"/>
            </a:xfrm>
            <a:prstGeom prst="roundRect">
              <a:avLst/>
            </a:prstGeom>
            <a:solidFill>
              <a:srgbClr val="FFFFFF"/>
            </a:solidFill>
            <a:ln w="28575">
              <a:noFill/>
            </a:ln>
          </p:spPr>
          <p:txBody>
            <a:bodyPr wrap="square" rIns="48000" anchor="ctr">
              <a:no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cs typeface="Arial" panose="020B0604020202020204" pitchFamily="34" charset="0"/>
                </a:rPr>
                <a:t>5-fluorouracilo 0,5% + AS</a:t>
              </a:r>
              <a:endParaRPr kumimoji="0" lang="es-ES" sz="16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34" name="Rectángulo redondeado 6">
              <a:extLst>
                <a:ext uri="{FF2B5EF4-FFF2-40B4-BE49-F238E27FC236}">
                  <a16:creationId xmlns:a16="http://schemas.microsoft.com/office/drawing/2014/main" id="{91D33C31-ED77-A5AC-9843-B36CE6714295}"/>
                </a:ext>
              </a:extLst>
            </p:cNvPr>
            <p:cNvSpPr/>
            <p:nvPr/>
          </p:nvSpPr>
          <p:spPr>
            <a:xfrm>
              <a:off x="5528221" y="1965918"/>
              <a:ext cx="2043796" cy="210734"/>
            </a:xfrm>
            <a:prstGeom prst="roundRect">
              <a:avLst/>
            </a:prstGeom>
            <a:solidFill>
              <a:srgbClr val="FFFFFF"/>
            </a:solidFill>
            <a:ln w="28575">
              <a:noFill/>
            </a:ln>
          </p:spPr>
          <p:txBody>
            <a:bodyPr wrap="square" rIns="48000" anchor="ctr">
              <a:no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cs typeface="Arial" panose="020B0604020202020204" pitchFamily="34" charset="0"/>
                </a:rPr>
                <a:t>Imiquimod 5%</a:t>
              </a:r>
              <a:endParaRPr kumimoji="0" lang="es-ES" sz="16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35" name="Rectángulo redondeado 6">
              <a:extLst>
                <a:ext uri="{FF2B5EF4-FFF2-40B4-BE49-F238E27FC236}">
                  <a16:creationId xmlns:a16="http://schemas.microsoft.com/office/drawing/2014/main" id="{471DD9C1-2D1F-1492-B268-0663F438BBEB}"/>
                </a:ext>
              </a:extLst>
            </p:cNvPr>
            <p:cNvSpPr/>
            <p:nvPr/>
          </p:nvSpPr>
          <p:spPr>
            <a:xfrm>
              <a:off x="5528221" y="1370225"/>
              <a:ext cx="2359929" cy="210734"/>
            </a:xfrm>
            <a:prstGeom prst="roundRect">
              <a:avLst/>
            </a:prstGeom>
            <a:solidFill>
              <a:srgbClr val="FFFFFF"/>
            </a:solidFill>
            <a:ln w="28575">
              <a:noFill/>
            </a:ln>
          </p:spPr>
          <p:txBody>
            <a:bodyPr wrap="square" rIns="48000" anchor="ctr">
              <a:no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13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1" i="0" u="none" strike="noStrike" kern="0" cap="none" spc="0" normalizeH="0" baseline="0" noProof="0">
                  <a:ln>
                    <a:noFill/>
                  </a:ln>
                  <a:solidFill>
                    <a:srgbClr val="E8434A"/>
                  </a:solidFill>
                  <a:effectLst/>
                  <a:uLnTx/>
                  <a:uFillTx/>
                  <a:cs typeface="Arial" panose="020B0604020202020204" pitchFamily="34" charset="0"/>
                </a:rPr>
                <a:t>Tirbanibulina 1%</a:t>
              </a:r>
              <a:endParaRPr kumimoji="0" lang="es-ES" sz="1600" b="1" i="0" u="none" strike="noStrike" kern="0" cap="none" spc="0" normalizeH="0" baseline="0" noProof="0">
                <a:ln>
                  <a:noFill/>
                </a:ln>
                <a:solidFill>
                  <a:srgbClr val="E8434A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sp>
          <p:nvSpPr>
            <p:cNvPr id="736" name="Rectángulo 735">
              <a:extLst>
                <a:ext uri="{FF2B5EF4-FFF2-40B4-BE49-F238E27FC236}">
                  <a16:creationId xmlns:a16="http://schemas.microsoft.com/office/drawing/2014/main" id="{690106CC-A9F3-92AE-EA1A-817C0C6D6A1F}"/>
                </a:ext>
              </a:extLst>
            </p:cNvPr>
            <p:cNvSpPr/>
            <p:nvPr/>
          </p:nvSpPr>
          <p:spPr>
            <a:xfrm>
              <a:off x="5549210" y="1633056"/>
              <a:ext cx="2040819" cy="215444"/>
            </a:xfrm>
            <a:prstGeom prst="rect">
              <a:avLst/>
            </a:prstGeom>
            <a:noFill/>
          </p:spPr>
          <p:txBody>
            <a:bodyPr wrap="square" tIns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67" b="0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ea typeface="Arial" panose="020B0604020202020204" pitchFamily="34" charset="0"/>
                  <a:cs typeface="Arial" panose="020B0604020202020204" pitchFamily="34" charset="0"/>
                </a:rPr>
                <a:t>1 vez al día durante 5 días consecutivos</a:t>
              </a:r>
            </a:p>
          </p:txBody>
        </p:sp>
        <p:sp>
          <p:nvSpPr>
            <p:cNvPr id="737" name="Rectángulo 736">
              <a:extLst>
                <a:ext uri="{FF2B5EF4-FFF2-40B4-BE49-F238E27FC236}">
                  <a16:creationId xmlns:a16="http://schemas.microsoft.com/office/drawing/2014/main" id="{76AF92CB-CECE-A823-047E-2B9B3501E8CE}"/>
                </a:ext>
              </a:extLst>
            </p:cNvPr>
            <p:cNvSpPr/>
            <p:nvPr/>
          </p:nvSpPr>
          <p:spPr>
            <a:xfrm>
              <a:off x="5533391" y="2216394"/>
              <a:ext cx="2070667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tIns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67" b="0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ea typeface="Arial" panose="020B0604020202020204" pitchFamily="34" charset="0"/>
                  <a:cs typeface="Arial" panose="020B0604020202020204" pitchFamily="34" charset="0"/>
                </a:rPr>
                <a:t>3 veces por semana durante 4 semanas</a:t>
              </a:r>
            </a:p>
          </p:txBody>
        </p:sp>
        <p:sp>
          <p:nvSpPr>
            <p:cNvPr id="738" name="Rectángulo 737">
              <a:extLst>
                <a:ext uri="{FF2B5EF4-FFF2-40B4-BE49-F238E27FC236}">
                  <a16:creationId xmlns:a16="http://schemas.microsoft.com/office/drawing/2014/main" id="{40D1A9F3-4E41-1E26-BFFD-A0EBA62E3D75}"/>
                </a:ext>
              </a:extLst>
            </p:cNvPr>
            <p:cNvSpPr/>
            <p:nvPr/>
          </p:nvSpPr>
          <p:spPr>
            <a:xfrm>
              <a:off x="5528222" y="2724358"/>
              <a:ext cx="2170488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tIns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67" b="0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ea typeface="Arial" panose="020B0604020202020204" pitchFamily="34" charset="0"/>
                  <a:cs typeface="Arial" panose="020B0604020202020204" pitchFamily="34" charset="0"/>
                </a:rPr>
                <a:t>1 vez al día durante 4 semanas, si se tolera</a:t>
              </a:r>
            </a:p>
          </p:txBody>
        </p:sp>
        <p:sp>
          <p:nvSpPr>
            <p:cNvPr id="739" name="Rectángulo 738">
              <a:extLst>
                <a:ext uri="{FF2B5EF4-FFF2-40B4-BE49-F238E27FC236}">
                  <a16:creationId xmlns:a16="http://schemas.microsoft.com/office/drawing/2014/main" id="{F4097368-1AFB-AA4F-2F65-344C7BD06CE1}"/>
                </a:ext>
              </a:extLst>
            </p:cNvPr>
            <p:cNvSpPr/>
            <p:nvPr/>
          </p:nvSpPr>
          <p:spPr>
            <a:xfrm>
              <a:off x="5528222" y="3207884"/>
              <a:ext cx="2070306" cy="33855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tIns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67" b="0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ea typeface="Arial" panose="020B0604020202020204" pitchFamily="34" charset="0"/>
                  <a:cs typeface="Arial" panose="020B0604020202020204" pitchFamily="34" charset="0"/>
                </a:rPr>
                <a:t>1 vez al día en 2 ciclos de 2 semanas separados por 2 semanas sin tratamiento </a:t>
              </a:r>
            </a:p>
          </p:txBody>
        </p:sp>
        <p:sp>
          <p:nvSpPr>
            <p:cNvPr id="740" name="Rectángulo 739">
              <a:extLst>
                <a:ext uri="{FF2B5EF4-FFF2-40B4-BE49-F238E27FC236}">
                  <a16:creationId xmlns:a16="http://schemas.microsoft.com/office/drawing/2014/main" id="{75F8B484-94B3-C5C0-7504-98ECEB5BA629}"/>
                </a:ext>
              </a:extLst>
            </p:cNvPr>
            <p:cNvSpPr/>
            <p:nvPr/>
          </p:nvSpPr>
          <p:spPr>
            <a:xfrm>
              <a:off x="5536703" y="3802409"/>
              <a:ext cx="2027408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tIns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67" b="0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ea typeface="Arial" panose="020B0604020202020204" pitchFamily="34" charset="0"/>
                  <a:cs typeface="Arial" panose="020B0604020202020204" pitchFamily="34" charset="0"/>
                </a:rPr>
                <a:t>1 vez al día hasta 12 semanas</a:t>
              </a:r>
            </a:p>
          </p:txBody>
        </p:sp>
        <p:sp>
          <p:nvSpPr>
            <p:cNvPr id="741" name="Rectángulo 740">
              <a:extLst>
                <a:ext uri="{FF2B5EF4-FFF2-40B4-BE49-F238E27FC236}">
                  <a16:creationId xmlns:a16="http://schemas.microsoft.com/office/drawing/2014/main" id="{C791C833-C9C2-FBB3-643E-5CF8EBC6EDD5}"/>
                </a:ext>
              </a:extLst>
            </p:cNvPr>
            <p:cNvSpPr/>
            <p:nvPr/>
          </p:nvSpPr>
          <p:spPr>
            <a:xfrm>
              <a:off x="5528221" y="4293302"/>
              <a:ext cx="2027408" cy="21544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tIns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67" b="0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ea typeface="Arial" panose="020B0604020202020204" pitchFamily="34" charset="0"/>
                  <a:cs typeface="Arial" panose="020B0604020202020204" pitchFamily="34" charset="0"/>
                </a:rPr>
                <a:t>2 veces al día hasta 60-90 días</a:t>
              </a:r>
            </a:p>
          </p:txBody>
        </p:sp>
      </p:grpSp>
      <p:sp>
        <p:nvSpPr>
          <p:cNvPr id="748" name="TextBox 32">
            <a:extLst>
              <a:ext uri="{FF2B5EF4-FFF2-40B4-BE49-F238E27FC236}">
                <a16:creationId xmlns:a16="http://schemas.microsoft.com/office/drawing/2014/main" id="{8025D404-D045-9FAD-610F-8AA59686AC02}"/>
              </a:ext>
            </a:extLst>
          </p:cNvPr>
          <p:cNvSpPr txBox="1"/>
          <p:nvPr/>
        </p:nvSpPr>
        <p:spPr>
          <a:xfrm>
            <a:off x="1576541" y="6215827"/>
            <a:ext cx="8878097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s-ES_tradnl" sz="750" b="1" i="0" u="none" strike="noStrike" kern="0" cap="none" spc="0" normalizeH="0" baseline="0" noProof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1</a:t>
            </a:r>
            <a:r>
              <a:rPr kumimoji="0" lang="es-ES_tradnl" sz="750" b="0" i="0" u="none" strike="noStrike" kern="0" cap="none" spc="0" normalizeH="0" baseline="0" noProof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. Grada A, Feldman SR, Bragazzi NL, Damiani G. Patient-reported outcomes of topical therapies in actinic keratosis: A systematic review. Dermatol Ther. 2021 Mar;34(2):e14833</a:t>
            </a:r>
            <a:endParaRPr lang="es-ES_tradnl" sz="750" noProof="1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r>
              <a:rPr lang="es-ES_tradnl" sz="750" noProof="1">
                <a:solidFill>
                  <a:schemeClr val="bg1">
                    <a:lumMod val="50000"/>
                  </a:schemeClr>
                </a:solidFill>
                <a:latin typeface="+mj-lt"/>
              </a:rPr>
              <a:t>Imagen elaborada a partir de las fichas técnicas: </a:t>
            </a:r>
            <a:r>
              <a:rPr lang="es-ES_tradnl" sz="750" noProof="1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1. </a:t>
            </a:r>
            <a:r>
              <a:rPr lang="es-ES" sz="750">
                <a:solidFill>
                  <a:schemeClr val="bg1">
                    <a:lumMod val="50000"/>
                  </a:schemeClr>
                </a:solidFill>
                <a:latin typeface="+mj-lt"/>
              </a:rPr>
              <a:t>Ficha técnica </a:t>
            </a:r>
            <a:r>
              <a:rPr lang="es-ES" sz="750" err="1">
                <a:solidFill>
                  <a:schemeClr val="bg1">
                    <a:lumMod val="50000"/>
                  </a:schemeClr>
                </a:solidFill>
                <a:latin typeface="+mj-lt"/>
              </a:rPr>
              <a:t>Klisyri</a:t>
            </a:r>
            <a:r>
              <a:rPr lang="es-ES" sz="750">
                <a:solidFill>
                  <a:schemeClr val="bg1">
                    <a:lumMod val="50000"/>
                  </a:schemeClr>
                </a:solidFill>
                <a:latin typeface="+mj-lt"/>
              </a:rPr>
              <a:t> 10mg/gr pomada. Disponible en:  </a:t>
            </a:r>
            <a:r>
              <a:rPr lang="es-ES" sz="750">
                <a:solidFill>
                  <a:prstClr val="black"/>
                </a:solidFill>
                <a:latin typeface="+mj-lt"/>
                <a:hlinkClick r:id="rId4" tooltip="https://cima.aemps.es/cima/pdfs/es/ft/1211558001/ft_1211558001.pdf"/>
              </a:rPr>
              <a:t>https://cima.aemps.es/cima/pdfs/es/ft/1211558001/FT_1211558001.pdf</a:t>
            </a:r>
            <a:r>
              <a:rPr lang="es-ES" sz="750">
                <a:solidFill>
                  <a:prstClr val="black"/>
                </a:solidFill>
                <a:latin typeface="+mj-lt"/>
              </a:rPr>
              <a:t> </a:t>
            </a:r>
            <a:r>
              <a:rPr lang="es-ES" sz="750">
                <a:solidFill>
                  <a:schemeClr val="bg1">
                    <a:lumMod val="50000"/>
                  </a:schemeClr>
                </a:solidFill>
                <a:latin typeface="+mj-lt"/>
              </a:rPr>
              <a:t>(último acceso marzo 2023)</a:t>
            </a:r>
            <a:r>
              <a:rPr lang="es-ES_tradnl" sz="750" noProof="1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lang="es-ES_tradnl" sz="750" noProof="1">
                <a:solidFill>
                  <a:srgbClr val="6F6F6F"/>
                </a:solidFill>
                <a:latin typeface="+mj-lt"/>
                <a:cs typeface="Arial" panose="020B0604020202020204" pitchFamily="34" charset="0"/>
              </a:rPr>
              <a:t>FT </a:t>
            </a:r>
            <a:r>
              <a:rPr lang="es-ES_tradnl" sz="750" noProof="1">
                <a:solidFill>
                  <a:schemeClr val="bg1">
                    <a:lumMod val="50000"/>
                  </a:schemeClr>
                </a:solidFill>
                <a:latin typeface="+mj-lt"/>
              </a:rPr>
              <a:t>Imunocare 50 mg/g crema </a:t>
            </a:r>
            <a:r>
              <a:rPr lang="es-ES_tradnl" sz="750" noProof="1">
                <a:solidFill>
                  <a:prstClr val="black"/>
                </a:solidFill>
                <a:latin typeface="+mj-lt"/>
                <a:hlinkClick r:id="rId5"/>
              </a:rPr>
              <a:t>https://cima.aemps.es/cima/pdfs/ft/78406/FT_78406.pdf</a:t>
            </a:r>
            <a:r>
              <a:rPr lang="es-ES_tradnl" sz="750" noProof="1">
                <a:solidFill>
                  <a:prstClr val="black"/>
                </a:solidFill>
                <a:latin typeface="+mj-lt"/>
              </a:rPr>
              <a:t> /. FT </a:t>
            </a:r>
            <a:r>
              <a:rPr lang="es-ES_tradnl" sz="750" noProof="1">
                <a:solidFill>
                  <a:srgbClr val="6F6F6F"/>
                </a:solidFill>
                <a:latin typeface="+mj-lt"/>
                <a:cs typeface="Arial" panose="020B0604020202020204" pitchFamily="34" charset="0"/>
              </a:rPr>
              <a:t>Aldara 5% crema </a:t>
            </a:r>
            <a:r>
              <a:rPr lang="es-ES_tradnl" sz="750" noProof="1">
                <a:solidFill>
                  <a:srgbClr val="6F6F6F"/>
                </a:solidFill>
                <a:latin typeface="+mj-lt"/>
                <a:cs typeface="Arial" panose="020B0604020202020204" pitchFamily="34" charset="0"/>
                <a:hlinkClick r:id="rId6"/>
              </a:rPr>
              <a:t>https://cima.aemps.es/cima/pdfs/ft/98080001/FT_98080001.pdf /</a:t>
            </a:r>
            <a:r>
              <a:rPr lang="es-ES_tradnl" sz="750" noProof="1">
                <a:solidFill>
                  <a:srgbClr val="6F6F6F"/>
                </a:solidFill>
                <a:latin typeface="+mj-lt"/>
                <a:cs typeface="Arial" panose="020B0604020202020204" pitchFamily="34" charset="0"/>
              </a:rPr>
              <a:t> FT Zyclara 3,75% crema </a:t>
            </a:r>
            <a:r>
              <a:rPr lang="es-ES_tradnl" sz="750" noProof="1">
                <a:solidFill>
                  <a:srgbClr val="6F6F6F"/>
                </a:solidFill>
                <a:latin typeface="+mj-lt"/>
                <a:cs typeface="Arial" panose="020B0604020202020204" pitchFamily="34" charset="0"/>
                <a:hlinkClick r:id="rId7"/>
              </a:rPr>
              <a:t>https://cima.aemps.es/cima/pdfs/ft/12783002/FT_12783002.pdf /</a:t>
            </a:r>
            <a:r>
              <a:rPr lang="es-ES_tradnl" sz="750" noProof="1">
                <a:solidFill>
                  <a:srgbClr val="6F6F6F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_tradnl" sz="750" noProof="1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T Tola</a:t>
            </a:r>
            <a:r>
              <a:rPr lang="es-ES_tradnl" sz="750" noProof="1">
                <a:solidFill>
                  <a:schemeClr val="bg1">
                    <a:lumMod val="50000"/>
                  </a:schemeClr>
                </a:solidFill>
                <a:latin typeface="+mj-lt"/>
              </a:rPr>
              <a:t>k 40 mg/g crema </a:t>
            </a:r>
            <a:r>
              <a:rPr lang="es-ES_tradnl" sz="750" noProof="1">
                <a:solidFill>
                  <a:prstClr val="black"/>
                </a:solidFill>
                <a:latin typeface="+mj-lt"/>
                <a:hlinkClick r:id="rId8"/>
              </a:rPr>
              <a:t>https://cima.aemps.es/cima/pdfs/ft/84849/FT_84849.pdf</a:t>
            </a:r>
            <a:r>
              <a:rPr lang="es-ES_tradnl" sz="750" noProof="1">
                <a:solidFill>
                  <a:prstClr val="black"/>
                </a:solidFill>
                <a:latin typeface="+mj-lt"/>
              </a:rPr>
              <a:t> /</a:t>
            </a:r>
            <a:r>
              <a:rPr lang="es-ES_tradnl" sz="750" noProof="1">
                <a:solidFill>
                  <a:srgbClr val="6F6F6F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_tradnl" sz="750" noProof="1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T Aktikerall </a:t>
            </a:r>
            <a:r>
              <a:rPr lang="es-ES_tradnl" sz="750" noProof="1">
                <a:solidFill>
                  <a:schemeClr val="bg1">
                    <a:lumMod val="50000"/>
                  </a:schemeClr>
                </a:solidFill>
                <a:latin typeface="+mj-lt"/>
              </a:rPr>
              <a:t>5 mg/g +100 mg/g solución cutánea </a:t>
            </a:r>
            <a:r>
              <a:rPr lang="es-ES_tradnl" sz="750" noProof="1">
                <a:solidFill>
                  <a:prstClr val="black"/>
                </a:solidFill>
                <a:latin typeface="+mj-lt"/>
                <a:hlinkClick r:id="rId9"/>
              </a:rPr>
              <a:t>https://cima.aemps.es/cima/pdfs/ft/77675/FT_77675.pdf </a:t>
            </a:r>
            <a:r>
              <a:rPr lang="es-ES_tradnl" sz="750" noProof="1">
                <a:solidFill>
                  <a:srgbClr val="6F6F6F"/>
                </a:solidFill>
                <a:latin typeface="+mj-lt"/>
                <a:cs typeface="Arial" panose="020B0604020202020204" pitchFamily="34" charset="0"/>
                <a:hlinkClick r:id="rId9"/>
              </a:rPr>
              <a:t>/</a:t>
            </a:r>
            <a:r>
              <a:rPr lang="es-ES_tradnl" sz="750" noProof="1">
                <a:solidFill>
                  <a:srgbClr val="6F6F6F"/>
                </a:solidFill>
                <a:latin typeface="+mj-lt"/>
                <a:cs typeface="Arial" panose="020B0604020202020204" pitchFamily="34" charset="0"/>
              </a:rPr>
              <a:t> FT Solaraze 30 mg/g gel </a:t>
            </a:r>
            <a:r>
              <a:rPr lang="es-ES_tradnl" sz="750" noProof="1">
                <a:solidFill>
                  <a:srgbClr val="6F6F6F"/>
                </a:solidFill>
                <a:latin typeface="+mj-lt"/>
                <a:cs typeface="Arial" panose="020B0604020202020204" pitchFamily="34" charset="0"/>
                <a:hlinkClick r:id="rId10"/>
              </a:rPr>
              <a:t>https://cima.aemps.es/cima/dochtml/ft/73714/FT_73714.pdf</a:t>
            </a:r>
            <a:r>
              <a:rPr lang="es-ES_tradnl" sz="750" noProof="1">
                <a:solidFill>
                  <a:srgbClr val="6F6F6F"/>
                </a:solidFill>
                <a:latin typeface="+mj-lt"/>
                <a:cs typeface="Arial" panose="020B0604020202020204" pitchFamily="34" charset="0"/>
              </a:rPr>
              <a:t>. </a:t>
            </a:r>
            <a:endParaRPr lang="es-ES_tradnl" sz="750" noProof="1">
              <a:solidFill>
                <a:prstClr val="black"/>
              </a:solidFill>
              <a:latin typeface="+mj-lt"/>
            </a:endParaRPr>
          </a:p>
        </p:txBody>
      </p:sp>
      <p:grpSp>
        <p:nvGrpSpPr>
          <p:cNvPr id="751" name="Grupo 750">
            <a:extLst>
              <a:ext uri="{FF2B5EF4-FFF2-40B4-BE49-F238E27FC236}">
                <a16:creationId xmlns:a16="http://schemas.microsoft.com/office/drawing/2014/main" id="{D8D93266-962A-8239-DAC7-7813C6736842}"/>
              </a:ext>
            </a:extLst>
          </p:cNvPr>
          <p:cNvGrpSpPr/>
          <p:nvPr/>
        </p:nvGrpSpPr>
        <p:grpSpPr>
          <a:xfrm>
            <a:off x="448283" y="1371940"/>
            <a:ext cx="4108661" cy="2431983"/>
            <a:chOff x="426511" y="1371940"/>
            <a:chExt cx="4108661" cy="2431983"/>
          </a:xfrm>
        </p:grpSpPr>
        <p:sp>
          <p:nvSpPr>
            <p:cNvPr id="750" name="Marcador de contenido 4">
              <a:extLst>
                <a:ext uri="{FF2B5EF4-FFF2-40B4-BE49-F238E27FC236}">
                  <a16:creationId xmlns:a16="http://schemas.microsoft.com/office/drawing/2014/main" id="{BA72FF1E-B7C8-CBB3-E74E-978CAAA9FB42}"/>
                </a:ext>
              </a:extLst>
            </p:cNvPr>
            <p:cNvSpPr txBox="1">
              <a:spLocks/>
            </p:cNvSpPr>
            <p:nvPr/>
          </p:nvSpPr>
          <p:spPr>
            <a:xfrm>
              <a:off x="426511" y="1371940"/>
              <a:ext cx="4108661" cy="2431983"/>
            </a:xfrm>
            <a:prstGeom prst="roundRect">
              <a:avLst/>
            </a:prstGeom>
            <a:solidFill>
              <a:srgbClr val="B4E1D6">
                <a:alpha val="56863"/>
              </a:srgbClr>
            </a:solidFill>
            <a:ln w="3175">
              <a:solidFill>
                <a:srgbClr val="003466"/>
              </a:solidFill>
            </a:ln>
          </p:spPr>
          <p:txBody>
            <a:bodyPr wrap="square" anchor="ctr">
              <a:noAutofit/>
            </a:bodyPr>
            <a:lstStyle>
              <a:defPPr>
                <a:defRPr lang="es-ES_tradnl"/>
              </a:defPPr>
              <a:lvl1pPr marR="0" lvl="0" algn="ctr" fontAlgn="auto">
                <a:lnSpc>
                  <a:spcPct val="15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tabLst/>
                <a:defRPr kumimoji="0" sz="1350" b="1" i="0" u="none" strike="noStrike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30000" noProof="0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9" name="CuadroTexto 748">
              <a:extLst>
                <a:ext uri="{FF2B5EF4-FFF2-40B4-BE49-F238E27FC236}">
                  <a16:creationId xmlns:a16="http://schemas.microsoft.com/office/drawing/2014/main" id="{F47216B5-5803-1695-8238-247156C03A5F}"/>
                </a:ext>
              </a:extLst>
            </p:cNvPr>
            <p:cNvSpPr txBox="1"/>
            <p:nvPr/>
          </p:nvSpPr>
          <p:spPr>
            <a:xfrm>
              <a:off x="576691" y="1504233"/>
              <a:ext cx="3880111" cy="21652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  <a:spcAft>
                  <a:spcPts val="1600"/>
                </a:spcAft>
              </a:pPr>
              <a:r>
                <a:rPr lang="es-ES_tradnl" sz="1400">
                  <a:solidFill>
                    <a:srgbClr val="002060"/>
                  </a:solidFill>
                </a:rPr>
                <a:t>L</a:t>
              </a:r>
              <a:r>
                <a:rPr lang="es-ES" sz="1400">
                  <a:solidFill>
                    <a:srgbClr val="002060"/>
                  </a:solidFill>
                </a:rPr>
                <a:t>as terapias tópicas con </a:t>
              </a:r>
              <a:r>
                <a:rPr lang="es-ES" sz="1400" b="1">
                  <a:solidFill>
                    <a:srgbClr val="002060"/>
                  </a:solidFill>
                </a:rPr>
                <a:t>regímenes</a:t>
              </a:r>
              <a:r>
                <a:rPr lang="es-ES" sz="1400">
                  <a:solidFill>
                    <a:srgbClr val="002060"/>
                  </a:solidFill>
                </a:rPr>
                <a:t> </a:t>
              </a:r>
              <a:r>
                <a:rPr lang="es-ES" sz="1400" b="1">
                  <a:solidFill>
                    <a:srgbClr val="002060"/>
                  </a:solidFill>
                </a:rPr>
                <a:t>cortos y sencillos </a:t>
              </a:r>
              <a:r>
                <a:rPr lang="es-ES" sz="1400">
                  <a:solidFill>
                    <a:srgbClr val="002060"/>
                  </a:solidFill>
                </a:rPr>
                <a:t>tienen un impacto positivo en</a:t>
              </a:r>
              <a:r>
                <a:rPr lang="es-ES" sz="1400" baseline="30000">
                  <a:solidFill>
                    <a:srgbClr val="002060"/>
                  </a:solidFill>
                </a:rPr>
                <a:t>1</a:t>
              </a:r>
              <a:r>
                <a:rPr lang="es-ES" sz="1400">
                  <a:solidFill>
                    <a:srgbClr val="002060"/>
                  </a:solidFill>
                </a:rPr>
                <a:t>: </a:t>
              </a:r>
            </a:p>
            <a:p>
              <a:pPr marL="990575" lvl="1" indent="-380990">
                <a:lnSpc>
                  <a:spcPct val="120000"/>
                </a:lnSpc>
                <a:spcAft>
                  <a:spcPts val="1600"/>
                </a:spcAft>
                <a:buFont typeface="Wingdings" panose="05000000000000000000" pitchFamily="2" charset="2"/>
                <a:buChar char="ü"/>
              </a:pPr>
              <a:r>
                <a:rPr lang="es-ES" sz="1400">
                  <a:solidFill>
                    <a:srgbClr val="002060"/>
                  </a:solidFill>
                </a:rPr>
                <a:t>Satisfacción del paciente</a:t>
              </a:r>
            </a:p>
            <a:p>
              <a:pPr marL="990575" lvl="1" indent="-380990">
                <a:lnSpc>
                  <a:spcPct val="120000"/>
                </a:lnSpc>
                <a:spcAft>
                  <a:spcPts val="1600"/>
                </a:spcAft>
                <a:buFont typeface="Wingdings" panose="05000000000000000000" pitchFamily="2" charset="2"/>
                <a:buChar char="ü"/>
              </a:pPr>
              <a:r>
                <a:rPr lang="es-ES" sz="1400">
                  <a:solidFill>
                    <a:srgbClr val="002060"/>
                  </a:solidFill>
                </a:rPr>
                <a:t>Adherencia al tratamiento</a:t>
              </a:r>
            </a:p>
            <a:p>
              <a:pPr marL="990575" lvl="1" indent="-380990">
                <a:lnSpc>
                  <a:spcPct val="120000"/>
                </a:lnSpc>
                <a:spcAft>
                  <a:spcPts val="1600"/>
                </a:spcAft>
                <a:buFont typeface="Wingdings" panose="05000000000000000000" pitchFamily="2" charset="2"/>
                <a:buChar char="ü"/>
              </a:pPr>
              <a:r>
                <a:rPr lang="es-ES" sz="1400">
                  <a:solidFill>
                    <a:srgbClr val="002060"/>
                  </a:solidFill>
                </a:rPr>
                <a:t>Calidad de vida</a:t>
              </a:r>
              <a:endParaRPr lang="es-ES" sz="160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268436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B09D0765-930A-9445-C92F-CD70DB4DC0A3}"/>
              </a:ext>
            </a:extLst>
          </p:cNvPr>
          <p:cNvSpPr txBox="1">
            <a:spLocks/>
          </p:cNvSpPr>
          <p:nvPr/>
        </p:nvSpPr>
        <p:spPr>
          <a:xfrm>
            <a:off x="1527723" y="6225824"/>
            <a:ext cx="9136553" cy="47486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US" sz="8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QA,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Queratosis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Actínica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, SCC, squamous cell carcinoma.</a:t>
            </a:r>
            <a:br>
              <a:rPr lang="en-US" sz="8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</a:br>
            <a:r>
              <a:rPr lang="en-US" sz="800" b="1">
                <a:solidFill>
                  <a:srgbClr val="002060"/>
                </a:solidFill>
                <a:cs typeface="Arial" panose="020B0604020202020204" pitchFamily="34" charset="0"/>
              </a:rPr>
              <a:t>1.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Zakria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, D, et al. The Importance of Medication Adherence in the Treatment of Actinic Keratosis: An Expert Consensus Panel. SKIN The Journal of Cutaneous Medicine, 2023 7(3), 752–763.</a:t>
            </a:r>
          </a:p>
        </p:txBody>
      </p:sp>
      <p:sp>
        <p:nvSpPr>
          <p:cNvPr id="40" name="Rectangle: Rounded Corners 13">
            <a:extLst>
              <a:ext uri="{FF2B5EF4-FFF2-40B4-BE49-F238E27FC236}">
                <a16:creationId xmlns:a16="http://schemas.microsoft.com/office/drawing/2014/main" id="{1E25A457-74D9-B5F1-7AF7-BD0D402500A3}"/>
              </a:ext>
            </a:extLst>
          </p:cNvPr>
          <p:cNvSpPr/>
          <p:nvPr/>
        </p:nvSpPr>
        <p:spPr>
          <a:xfrm>
            <a:off x="6299673" y="1226347"/>
            <a:ext cx="5513444" cy="460637"/>
          </a:xfrm>
          <a:prstGeom prst="roundRect">
            <a:avLst/>
          </a:prstGeom>
          <a:solidFill>
            <a:srgbClr val="002855"/>
          </a:solidFill>
          <a:ln w="12700" cap="flat" cmpd="sng" algn="ctr">
            <a:solidFill>
              <a:srgbClr val="002855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67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Hallazgos</a:t>
            </a:r>
            <a:r>
              <a:rPr kumimoji="0" lang="en-GB" sz="18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clave</a:t>
            </a:r>
            <a:r>
              <a:rPr kumimoji="0" lang="en-GB" sz="1867" b="1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41" name="Group 14">
            <a:extLst>
              <a:ext uri="{FF2B5EF4-FFF2-40B4-BE49-F238E27FC236}">
                <a16:creationId xmlns:a16="http://schemas.microsoft.com/office/drawing/2014/main" id="{859F722C-B77F-9FA0-69C7-6FED9B6898F1}"/>
              </a:ext>
            </a:extLst>
          </p:cNvPr>
          <p:cNvGrpSpPr/>
          <p:nvPr/>
        </p:nvGrpSpPr>
        <p:grpSpPr>
          <a:xfrm>
            <a:off x="6299675" y="1779800"/>
            <a:ext cx="5513440" cy="814785"/>
            <a:chOff x="4724756" y="3543344"/>
            <a:chExt cx="4135080" cy="742775"/>
          </a:xfrm>
        </p:grpSpPr>
        <p:sp>
          <p:nvSpPr>
            <p:cNvPr id="42" name="TextBox 15">
              <a:extLst>
                <a:ext uri="{FF2B5EF4-FFF2-40B4-BE49-F238E27FC236}">
                  <a16:creationId xmlns:a16="http://schemas.microsoft.com/office/drawing/2014/main" id="{4355B406-7ED0-1072-4245-2396FAF3AFB5}"/>
                </a:ext>
              </a:extLst>
            </p:cNvPr>
            <p:cNvSpPr txBox="1"/>
            <p:nvPr/>
          </p:nvSpPr>
          <p:spPr>
            <a:xfrm>
              <a:off x="4736415" y="3543344"/>
              <a:ext cx="4123421" cy="742775"/>
            </a:xfrm>
            <a:prstGeom prst="roundRect">
              <a:avLst>
                <a:gd name="adj" fmla="val 11032"/>
              </a:avLst>
            </a:prstGeom>
            <a:solidFill>
              <a:srgbClr val="FFFFFF">
                <a:lumMod val="95000"/>
              </a:srgbClr>
            </a:solidFill>
            <a:ln>
              <a:noFill/>
            </a:ln>
          </p:spPr>
          <p:txBody>
            <a:bodyPr wrap="square" lIns="182880" rtlCol="0" anchor="ctr" anchorCtr="0">
              <a:noAutofit/>
            </a:bodyPr>
            <a:lstStyle/>
            <a:p>
              <a:pPr marL="0" marR="0" lvl="0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67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Una mayor </a:t>
              </a:r>
              <a:r>
                <a:rPr kumimoji="0" lang="es-ES" sz="1467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complejidad, </a:t>
              </a:r>
              <a:r>
                <a:rPr kumimoji="0" lang="es-ES" sz="1467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mayor</a:t>
              </a:r>
              <a:r>
                <a:rPr kumimoji="0" lang="es-ES" sz="1467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 duración y efectos adversos impactan negativamente en la adherencia</a:t>
              </a:r>
              <a:r>
                <a:rPr kumimoji="0" lang="es-ES" sz="1467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 a los tratamientos de QA</a:t>
              </a:r>
              <a:endParaRPr kumimoji="0" lang="en-US" sz="1467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sym typeface="Wingdings" panose="05000000000000000000" pitchFamily="2" charset="2"/>
              </a:endParaRPr>
            </a:p>
          </p:txBody>
        </p:sp>
        <p:sp>
          <p:nvSpPr>
            <p:cNvPr id="43" name="Rectangle: Top Corners Rounded 16">
              <a:extLst>
                <a:ext uri="{FF2B5EF4-FFF2-40B4-BE49-F238E27FC236}">
                  <a16:creationId xmlns:a16="http://schemas.microsoft.com/office/drawing/2014/main" id="{254A90E4-5875-EC94-A960-CC5B177199F8}"/>
                </a:ext>
              </a:extLst>
            </p:cNvPr>
            <p:cNvSpPr/>
            <p:nvPr/>
          </p:nvSpPr>
          <p:spPr>
            <a:xfrm rot="16200000">
              <a:off x="4398985" y="3869115"/>
              <a:ext cx="742775" cy="9123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285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17">
            <a:extLst>
              <a:ext uri="{FF2B5EF4-FFF2-40B4-BE49-F238E27FC236}">
                <a16:creationId xmlns:a16="http://schemas.microsoft.com/office/drawing/2014/main" id="{7A524951-8CFB-EB60-6A0C-96CCB3527E26}"/>
              </a:ext>
            </a:extLst>
          </p:cNvPr>
          <p:cNvGrpSpPr/>
          <p:nvPr/>
        </p:nvGrpSpPr>
        <p:grpSpPr>
          <a:xfrm>
            <a:off x="6299675" y="2687400"/>
            <a:ext cx="5513440" cy="814785"/>
            <a:chOff x="4724756" y="3543344"/>
            <a:chExt cx="4135080" cy="742775"/>
          </a:xfrm>
        </p:grpSpPr>
        <p:sp>
          <p:nvSpPr>
            <p:cNvPr id="45" name="TextBox 18">
              <a:extLst>
                <a:ext uri="{FF2B5EF4-FFF2-40B4-BE49-F238E27FC236}">
                  <a16:creationId xmlns:a16="http://schemas.microsoft.com/office/drawing/2014/main" id="{0C60FB2F-D27B-F38A-E1F9-BC8462E0E671}"/>
                </a:ext>
              </a:extLst>
            </p:cNvPr>
            <p:cNvSpPr txBox="1"/>
            <p:nvPr/>
          </p:nvSpPr>
          <p:spPr>
            <a:xfrm>
              <a:off x="4736415" y="3543344"/>
              <a:ext cx="4123421" cy="742775"/>
            </a:xfrm>
            <a:prstGeom prst="roundRect">
              <a:avLst>
                <a:gd name="adj" fmla="val 11032"/>
              </a:avLst>
            </a:prstGeom>
            <a:solidFill>
              <a:srgbClr val="FFFFFF">
                <a:lumMod val="95000"/>
              </a:srgbClr>
            </a:solidFill>
            <a:ln>
              <a:noFill/>
            </a:ln>
          </p:spPr>
          <p:txBody>
            <a:bodyPr wrap="square" lIns="182880" rtlCol="0" anchor="ctr" anchorCtr="0">
              <a:noAutofit/>
            </a:bodyPr>
            <a:lstStyle/>
            <a:p>
              <a:pPr marL="0" marR="0" lvl="0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67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Una menor adherencia a los tratamientos de AK puede conducir a una </a:t>
              </a:r>
              <a:r>
                <a:rPr kumimoji="0" lang="es-ES" sz="1467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menor eficacia</a:t>
              </a:r>
              <a:endParaRPr kumimoji="0" lang="en-US" sz="1467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sym typeface="Wingdings" panose="05000000000000000000" pitchFamily="2" charset="2"/>
              </a:endParaRPr>
            </a:p>
          </p:txBody>
        </p:sp>
        <p:sp>
          <p:nvSpPr>
            <p:cNvPr id="46" name="Rectangle: Top Corners Rounded 19">
              <a:extLst>
                <a:ext uri="{FF2B5EF4-FFF2-40B4-BE49-F238E27FC236}">
                  <a16:creationId xmlns:a16="http://schemas.microsoft.com/office/drawing/2014/main" id="{6B025B3F-B6FD-23AF-7205-5085423FDC62}"/>
                </a:ext>
              </a:extLst>
            </p:cNvPr>
            <p:cNvSpPr/>
            <p:nvPr/>
          </p:nvSpPr>
          <p:spPr>
            <a:xfrm rot="16200000">
              <a:off x="4398985" y="3869115"/>
              <a:ext cx="742775" cy="9123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285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7" name="Group 20">
            <a:extLst>
              <a:ext uri="{FF2B5EF4-FFF2-40B4-BE49-F238E27FC236}">
                <a16:creationId xmlns:a16="http://schemas.microsoft.com/office/drawing/2014/main" id="{19A3F681-2036-FB62-A245-9960A347EF0E}"/>
              </a:ext>
            </a:extLst>
          </p:cNvPr>
          <p:cNvGrpSpPr/>
          <p:nvPr/>
        </p:nvGrpSpPr>
        <p:grpSpPr>
          <a:xfrm>
            <a:off x="6299675" y="3594999"/>
            <a:ext cx="5513440" cy="1158744"/>
            <a:chOff x="4724756" y="3543344"/>
            <a:chExt cx="4135080" cy="742775"/>
          </a:xfrm>
        </p:grpSpPr>
        <p:sp>
          <p:nvSpPr>
            <p:cNvPr id="48" name="TextBox 21">
              <a:extLst>
                <a:ext uri="{FF2B5EF4-FFF2-40B4-BE49-F238E27FC236}">
                  <a16:creationId xmlns:a16="http://schemas.microsoft.com/office/drawing/2014/main" id="{7F1FC76B-5EFD-16B4-25D0-E6A029C18A06}"/>
                </a:ext>
              </a:extLst>
            </p:cNvPr>
            <p:cNvSpPr txBox="1"/>
            <p:nvPr/>
          </p:nvSpPr>
          <p:spPr>
            <a:xfrm>
              <a:off x="4736415" y="3543344"/>
              <a:ext cx="4123421" cy="742775"/>
            </a:xfrm>
            <a:prstGeom prst="roundRect">
              <a:avLst>
                <a:gd name="adj" fmla="val 11032"/>
              </a:avLst>
            </a:prstGeom>
            <a:solidFill>
              <a:srgbClr val="FFFFFF">
                <a:lumMod val="95000"/>
              </a:srgbClr>
            </a:solidFill>
            <a:ln>
              <a:noFill/>
            </a:ln>
          </p:spPr>
          <p:txBody>
            <a:bodyPr wrap="square" lIns="182880" rtlCol="0" anchor="ctr" anchorCtr="0">
              <a:noAutofit/>
            </a:bodyPr>
            <a:lstStyle/>
            <a:p>
              <a:pPr marL="0" marR="0" lvl="0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67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Los datos prospectivos de mundo real demuestran que la </a:t>
              </a:r>
              <a:r>
                <a:rPr kumimoji="0" lang="es-ES" sz="1467" b="1" i="0" u="none" strike="noStrike" kern="0" cap="none" spc="0" normalizeH="0" baseline="0" noProof="0" err="1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tirbanibulina</a:t>
              </a:r>
              <a:r>
                <a:rPr kumimoji="0" lang="es-ES" sz="1467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 tópica para la QA es efectiva, bien tolerada y conveniente</a:t>
              </a:r>
              <a:r>
                <a:rPr kumimoji="0" lang="es-ES" sz="1467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, según evaluaciones altamente realizadas tanto por pacientes como por médicos.</a:t>
              </a:r>
              <a:endParaRPr kumimoji="0" lang="en-US" sz="1467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sym typeface="Wingdings" panose="05000000000000000000" pitchFamily="2" charset="2"/>
              </a:endParaRPr>
            </a:p>
          </p:txBody>
        </p:sp>
        <p:sp>
          <p:nvSpPr>
            <p:cNvPr id="49" name="Rectangle: Top Corners Rounded 22">
              <a:extLst>
                <a:ext uri="{FF2B5EF4-FFF2-40B4-BE49-F238E27FC236}">
                  <a16:creationId xmlns:a16="http://schemas.microsoft.com/office/drawing/2014/main" id="{16C20489-F9F1-2AD0-43B5-CD5D1C240FA4}"/>
                </a:ext>
              </a:extLst>
            </p:cNvPr>
            <p:cNvSpPr/>
            <p:nvPr/>
          </p:nvSpPr>
          <p:spPr>
            <a:xfrm rot="16200000">
              <a:off x="4398985" y="3869115"/>
              <a:ext cx="742775" cy="9123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285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0" name="Group 23">
            <a:extLst>
              <a:ext uri="{FF2B5EF4-FFF2-40B4-BE49-F238E27FC236}">
                <a16:creationId xmlns:a16="http://schemas.microsoft.com/office/drawing/2014/main" id="{7ADADB08-5845-AE40-50C4-243C528347C5}"/>
              </a:ext>
            </a:extLst>
          </p:cNvPr>
          <p:cNvGrpSpPr/>
          <p:nvPr/>
        </p:nvGrpSpPr>
        <p:grpSpPr>
          <a:xfrm>
            <a:off x="6299675" y="4846558"/>
            <a:ext cx="5513440" cy="979337"/>
            <a:chOff x="4724756" y="3543344"/>
            <a:chExt cx="4135080" cy="742775"/>
          </a:xfrm>
        </p:grpSpPr>
        <p:sp>
          <p:nvSpPr>
            <p:cNvPr id="51" name="TextBox 24">
              <a:extLst>
                <a:ext uri="{FF2B5EF4-FFF2-40B4-BE49-F238E27FC236}">
                  <a16:creationId xmlns:a16="http://schemas.microsoft.com/office/drawing/2014/main" id="{A7172B35-A303-7049-65F7-31B59B10CADA}"/>
                </a:ext>
              </a:extLst>
            </p:cNvPr>
            <p:cNvSpPr txBox="1"/>
            <p:nvPr/>
          </p:nvSpPr>
          <p:spPr>
            <a:xfrm>
              <a:off x="4736415" y="3543344"/>
              <a:ext cx="4123421" cy="742775"/>
            </a:xfrm>
            <a:prstGeom prst="roundRect">
              <a:avLst>
                <a:gd name="adj" fmla="val 11032"/>
              </a:avLst>
            </a:prstGeom>
            <a:solidFill>
              <a:srgbClr val="FFFFFF">
                <a:lumMod val="95000"/>
              </a:srgbClr>
            </a:solidFill>
            <a:ln>
              <a:noFill/>
            </a:ln>
          </p:spPr>
          <p:txBody>
            <a:bodyPr wrap="square" lIns="182880" rtlCol="0" anchor="ctr" anchorCtr="0">
              <a:noAutofit/>
            </a:bodyPr>
            <a:lstStyle/>
            <a:p>
              <a:pPr marL="0" marR="0" lvl="0" indent="0" defTabSz="12191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67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El tratamiento incompleto de las QA puede aumentar el riesgo de transformación maligna a CCE, </a:t>
              </a:r>
              <a:r>
                <a:rPr kumimoji="0" lang="es-ES" sz="1467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rPr>
                <a:t>lo que conduce a un aumento de la morbilidad y mortalidad.</a:t>
              </a:r>
              <a:endParaRPr kumimoji="0" lang="en-US" sz="1467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sym typeface="Wingdings" panose="05000000000000000000" pitchFamily="2" charset="2"/>
              </a:endParaRPr>
            </a:p>
          </p:txBody>
        </p:sp>
        <p:sp>
          <p:nvSpPr>
            <p:cNvPr id="52" name="Rectangle: Top Corners Rounded 25">
              <a:extLst>
                <a:ext uri="{FF2B5EF4-FFF2-40B4-BE49-F238E27FC236}">
                  <a16:creationId xmlns:a16="http://schemas.microsoft.com/office/drawing/2014/main" id="{32DBC843-B400-2E22-FB74-AEBF96D765D4}"/>
                </a:ext>
              </a:extLst>
            </p:cNvPr>
            <p:cNvSpPr/>
            <p:nvPr/>
          </p:nvSpPr>
          <p:spPr>
            <a:xfrm rot="16200000">
              <a:off x="4398985" y="3869115"/>
              <a:ext cx="742775" cy="9123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285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67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3" name="Rectangle: Rounded Corners 26">
            <a:extLst>
              <a:ext uri="{FF2B5EF4-FFF2-40B4-BE49-F238E27FC236}">
                <a16:creationId xmlns:a16="http://schemas.microsoft.com/office/drawing/2014/main" id="{FD8E753B-A3AF-0B35-75DA-B7BED582F670}"/>
              </a:ext>
            </a:extLst>
          </p:cNvPr>
          <p:cNvSpPr/>
          <p:nvPr/>
        </p:nvSpPr>
        <p:spPr>
          <a:xfrm>
            <a:off x="426661" y="1934838"/>
            <a:ext cx="5462251" cy="3279419"/>
          </a:xfrm>
          <a:prstGeom prst="roundRect">
            <a:avLst>
              <a:gd name="adj" fmla="val 6137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6254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2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pic>
        <p:nvPicPr>
          <p:cNvPr id="54" name="Imagen 53">
            <a:extLst>
              <a:ext uri="{FF2B5EF4-FFF2-40B4-BE49-F238E27FC236}">
                <a16:creationId xmlns:a16="http://schemas.microsoft.com/office/drawing/2014/main" id="{BE9C5127-2C85-52F5-D8DA-7D61EEE467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4726" y="2468518"/>
            <a:ext cx="4821861" cy="1799943"/>
          </a:xfrm>
          <a:prstGeom prst="rect">
            <a:avLst/>
          </a:prstGeom>
          <a:ln w="12700">
            <a:solidFill>
              <a:srgbClr val="FFFFFF">
                <a:lumMod val="95000"/>
              </a:srgbClr>
            </a:solidFill>
          </a:ln>
        </p:spPr>
      </p:pic>
      <p:sp>
        <p:nvSpPr>
          <p:cNvPr id="55" name="CuadroTexto 54">
            <a:extLst>
              <a:ext uri="{FF2B5EF4-FFF2-40B4-BE49-F238E27FC236}">
                <a16:creationId xmlns:a16="http://schemas.microsoft.com/office/drawing/2014/main" id="{16BE42D8-0229-9095-7E05-637184D1E991}"/>
              </a:ext>
            </a:extLst>
          </p:cNvPr>
          <p:cNvSpPr txBox="1"/>
          <p:nvPr/>
        </p:nvSpPr>
        <p:spPr>
          <a:xfrm>
            <a:off x="361082" y="157309"/>
            <a:ext cx="8140661" cy="8733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lnSpc>
                <a:spcPct val="110000"/>
              </a:lnSpc>
              <a:spcAft>
                <a:spcPts val="1800"/>
              </a:spcAft>
              <a:buSzPct val="90000"/>
              <a:defRPr/>
            </a:pPr>
            <a:r>
              <a:rPr lang="es-ES" sz="2400" b="1">
                <a:solidFill>
                  <a:srgbClr val="E93C3D"/>
                </a:solidFill>
                <a:cs typeface="Arial" panose="020B0604020202020204" pitchFamily="34" charset="0"/>
              </a:rPr>
              <a:t>¿Considera que la posología de </a:t>
            </a:r>
            <a:r>
              <a:rPr lang="es-ES" sz="2400" b="1" err="1">
                <a:solidFill>
                  <a:srgbClr val="E93C3D"/>
                </a:solidFill>
                <a:cs typeface="Arial" panose="020B0604020202020204" pitchFamily="34" charset="0"/>
              </a:rPr>
              <a:t>tirbanibulina</a:t>
            </a:r>
            <a:r>
              <a:rPr lang="es-ES" sz="2400" b="1">
                <a:solidFill>
                  <a:srgbClr val="E93C3D"/>
                </a:solidFill>
                <a:cs typeface="Arial" panose="020B0604020202020204" pitchFamily="34" charset="0"/>
              </a:rPr>
              <a:t> (de sólo 5 días) es conveniente para el paciente?</a:t>
            </a:r>
          </a:p>
        </p:txBody>
      </p:sp>
      <p:sp>
        <p:nvSpPr>
          <p:cNvPr id="38" name="Marcador de texto 1">
            <a:extLst>
              <a:ext uri="{FF2B5EF4-FFF2-40B4-BE49-F238E27FC236}">
                <a16:creationId xmlns:a16="http://schemas.microsoft.com/office/drawing/2014/main" id="{8284A5EB-E9A3-216E-E379-1CA68FC13661}"/>
              </a:ext>
            </a:extLst>
          </p:cNvPr>
          <p:cNvSpPr txBox="1">
            <a:spLocks/>
          </p:cNvSpPr>
          <p:nvPr/>
        </p:nvSpPr>
        <p:spPr>
          <a:xfrm>
            <a:off x="1154629" y="1522722"/>
            <a:ext cx="3982053" cy="47486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ortancia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la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herencia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91384789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FFB1631A-9AE1-0D16-8294-D6B00B654998}"/>
              </a:ext>
            </a:extLst>
          </p:cNvPr>
          <p:cNvSpPr txBox="1"/>
          <p:nvPr/>
        </p:nvSpPr>
        <p:spPr>
          <a:xfrm>
            <a:off x="361082" y="157309"/>
            <a:ext cx="8140661" cy="8733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lnSpc>
                <a:spcPct val="110000"/>
              </a:lnSpc>
              <a:spcAft>
                <a:spcPts val="1800"/>
              </a:spcAft>
              <a:buSzPct val="90000"/>
              <a:defRPr/>
            </a:pPr>
            <a:r>
              <a:rPr lang="es-ES" sz="2400" b="1">
                <a:solidFill>
                  <a:srgbClr val="E93C3D"/>
                </a:solidFill>
                <a:cs typeface="Arial" panose="020B0604020202020204" pitchFamily="34" charset="0"/>
              </a:rPr>
              <a:t>¿Considera que la posología de </a:t>
            </a:r>
            <a:r>
              <a:rPr lang="es-ES" sz="2400" b="1" err="1">
                <a:solidFill>
                  <a:srgbClr val="E93C3D"/>
                </a:solidFill>
                <a:cs typeface="Arial" panose="020B0604020202020204" pitchFamily="34" charset="0"/>
              </a:rPr>
              <a:t>tirbanibulina</a:t>
            </a:r>
            <a:r>
              <a:rPr lang="es-ES" sz="2400" b="1">
                <a:solidFill>
                  <a:srgbClr val="E93C3D"/>
                </a:solidFill>
                <a:cs typeface="Arial" panose="020B0604020202020204" pitchFamily="34" charset="0"/>
              </a:rPr>
              <a:t> (de sólo 5 días) es conveniente para el paciente?</a:t>
            </a:r>
          </a:p>
        </p:txBody>
      </p:sp>
      <p:sp>
        <p:nvSpPr>
          <p:cNvPr id="6" name="Marcador de texto 1">
            <a:extLst>
              <a:ext uri="{FF2B5EF4-FFF2-40B4-BE49-F238E27FC236}">
                <a16:creationId xmlns:a16="http://schemas.microsoft.com/office/drawing/2014/main" id="{CF71B97A-E2A2-3A76-E6BA-BE0B0B8DDC67}"/>
              </a:ext>
            </a:extLst>
          </p:cNvPr>
          <p:cNvSpPr txBox="1">
            <a:spLocks/>
          </p:cNvSpPr>
          <p:nvPr/>
        </p:nvSpPr>
        <p:spPr>
          <a:xfrm>
            <a:off x="1178243" y="1773013"/>
            <a:ext cx="3982053" cy="47486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</a:t>
            </a: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ortancia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la </a:t>
            </a: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herencia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</p:txBody>
      </p:sp>
      <p:sp>
        <p:nvSpPr>
          <p:cNvPr id="53" name="Rectangle: Rounded Corners 26">
            <a:extLst>
              <a:ext uri="{FF2B5EF4-FFF2-40B4-BE49-F238E27FC236}">
                <a16:creationId xmlns:a16="http://schemas.microsoft.com/office/drawing/2014/main" id="{6CBC0655-E494-FB2A-3430-FD22B1B294A3}"/>
              </a:ext>
            </a:extLst>
          </p:cNvPr>
          <p:cNvSpPr/>
          <p:nvPr/>
        </p:nvSpPr>
        <p:spPr>
          <a:xfrm>
            <a:off x="562457" y="1637549"/>
            <a:ext cx="5457681" cy="4426548"/>
          </a:xfrm>
          <a:prstGeom prst="roundRect">
            <a:avLst>
              <a:gd name="adj" fmla="val 6137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63500" algn="ctr" rotWithShape="0">
              <a:srgbClr val="000000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6254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2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pic>
        <p:nvPicPr>
          <p:cNvPr id="54" name="Imagen 53">
            <a:extLst>
              <a:ext uri="{FF2B5EF4-FFF2-40B4-BE49-F238E27FC236}">
                <a16:creationId xmlns:a16="http://schemas.microsoft.com/office/drawing/2014/main" id="{0657B096-0D78-5F9E-3185-B76AEB6169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7369" y="1704163"/>
            <a:ext cx="4190704" cy="1564339"/>
          </a:xfrm>
          <a:prstGeom prst="rect">
            <a:avLst/>
          </a:prstGeom>
          <a:ln>
            <a:solidFill>
              <a:srgbClr val="FFFFFF">
                <a:lumMod val="95000"/>
              </a:srgbClr>
            </a:solidFill>
          </a:ln>
        </p:spPr>
      </p:pic>
      <p:sp>
        <p:nvSpPr>
          <p:cNvPr id="55" name="Rectangle 45">
            <a:extLst>
              <a:ext uri="{FF2B5EF4-FFF2-40B4-BE49-F238E27FC236}">
                <a16:creationId xmlns:a16="http://schemas.microsoft.com/office/drawing/2014/main" id="{8FD5813D-86A5-E29F-9DCC-F3A507295546}"/>
              </a:ext>
            </a:extLst>
          </p:cNvPr>
          <p:cNvSpPr/>
          <p:nvPr/>
        </p:nvSpPr>
        <p:spPr>
          <a:xfrm>
            <a:off x="1719590" y="5187172"/>
            <a:ext cx="409896" cy="262787"/>
          </a:xfrm>
          <a:prstGeom prst="rect">
            <a:avLst/>
          </a:prstGeom>
          <a:solidFill>
            <a:srgbClr val="00BE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Rectangle 46">
            <a:extLst>
              <a:ext uri="{FF2B5EF4-FFF2-40B4-BE49-F238E27FC236}">
                <a16:creationId xmlns:a16="http://schemas.microsoft.com/office/drawing/2014/main" id="{7FB99471-F403-ADA7-01C3-26D941FB9066}"/>
              </a:ext>
            </a:extLst>
          </p:cNvPr>
          <p:cNvSpPr/>
          <p:nvPr/>
        </p:nvSpPr>
        <p:spPr>
          <a:xfrm>
            <a:off x="2167176" y="4549210"/>
            <a:ext cx="409896" cy="900749"/>
          </a:xfrm>
          <a:prstGeom prst="rect">
            <a:avLst/>
          </a:prstGeom>
          <a:solidFill>
            <a:srgbClr val="00285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Rectangle 47">
            <a:extLst>
              <a:ext uri="{FF2B5EF4-FFF2-40B4-BE49-F238E27FC236}">
                <a16:creationId xmlns:a16="http://schemas.microsoft.com/office/drawing/2014/main" id="{F2637C2D-4061-FA4D-EFB4-5D5A8A2B6745}"/>
              </a:ext>
            </a:extLst>
          </p:cNvPr>
          <p:cNvSpPr/>
          <p:nvPr/>
        </p:nvSpPr>
        <p:spPr>
          <a:xfrm>
            <a:off x="2854754" y="4549210"/>
            <a:ext cx="409896" cy="900749"/>
          </a:xfrm>
          <a:prstGeom prst="rect">
            <a:avLst/>
          </a:prstGeom>
          <a:solidFill>
            <a:srgbClr val="00BE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Rectangle 48">
            <a:extLst>
              <a:ext uri="{FF2B5EF4-FFF2-40B4-BE49-F238E27FC236}">
                <a16:creationId xmlns:a16="http://schemas.microsoft.com/office/drawing/2014/main" id="{FF8B8D80-4240-60B8-C6FC-588414ADE5B4}"/>
              </a:ext>
            </a:extLst>
          </p:cNvPr>
          <p:cNvSpPr/>
          <p:nvPr/>
        </p:nvSpPr>
        <p:spPr>
          <a:xfrm>
            <a:off x="3302340" y="3717669"/>
            <a:ext cx="409896" cy="1732291"/>
          </a:xfrm>
          <a:prstGeom prst="rect">
            <a:avLst/>
          </a:prstGeom>
          <a:solidFill>
            <a:srgbClr val="00285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Rectangle 49">
            <a:extLst>
              <a:ext uri="{FF2B5EF4-FFF2-40B4-BE49-F238E27FC236}">
                <a16:creationId xmlns:a16="http://schemas.microsoft.com/office/drawing/2014/main" id="{A498D0B6-316C-2112-6B78-6B4EA7691204}"/>
              </a:ext>
            </a:extLst>
          </p:cNvPr>
          <p:cNvSpPr/>
          <p:nvPr/>
        </p:nvSpPr>
        <p:spPr>
          <a:xfrm>
            <a:off x="3989918" y="4361210"/>
            <a:ext cx="409896" cy="1088749"/>
          </a:xfrm>
          <a:prstGeom prst="rect">
            <a:avLst/>
          </a:prstGeom>
          <a:solidFill>
            <a:srgbClr val="00BE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Rectangle 50">
            <a:extLst>
              <a:ext uri="{FF2B5EF4-FFF2-40B4-BE49-F238E27FC236}">
                <a16:creationId xmlns:a16="http://schemas.microsoft.com/office/drawing/2014/main" id="{8F910761-6C27-00BD-5309-FF1481B0E949}"/>
              </a:ext>
            </a:extLst>
          </p:cNvPr>
          <p:cNvSpPr/>
          <p:nvPr/>
        </p:nvSpPr>
        <p:spPr>
          <a:xfrm>
            <a:off x="4437504" y="4743408"/>
            <a:ext cx="409896" cy="706552"/>
          </a:xfrm>
          <a:prstGeom prst="rect">
            <a:avLst/>
          </a:prstGeom>
          <a:solidFill>
            <a:srgbClr val="00285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1" name="Content Placeholder 1">
            <a:extLst>
              <a:ext uri="{FF2B5EF4-FFF2-40B4-BE49-F238E27FC236}">
                <a16:creationId xmlns:a16="http://schemas.microsoft.com/office/drawing/2014/main" id="{1A6C5070-1BE1-444D-229F-FFE2E9F7EB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4254064"/>
              </p:ext>
            </p:extLst>
          </p:nvPr>
        </p:nvGraphicFramePr>
        <p:xfrm>
          <a:off x="889511" y="3099747"/>
          <a:ext cx="4646604" cy="2724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2" name="Rectangle 52">
            <a:extLst>
              <a:ext uri="{FF2B5EF4-FFF2-40B4-BE49-F238E27FC236}">
                <a16:creationId xmlns:a16="http://schemas.microsoft.com/office/drawing/2014/main" id="{CC1FB802-BA8D-C771-91D5-3D9B403D066F}"/>
              </a:ext>
            </a:extLst>
          </p:cNvPr>
          <p:cNvSpPr/>
          <p:nvPr/>
        </p:nvSpPr>
        <p:spPr>
          <a:xfrm rot="16200000">
            <a:off x="-124016" y="4354100"/>
            <a:ext cx="2156703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err="1">
                <a:ln>
                  <a:noFill/>
                </a:ln>
                <a:solidFill>
                  <a:srgbClr val="0027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úmero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27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</a:t>
            </a:r>
            <a:r>
              <a:rPr kumimoji="0" lang="en-US" sz="1400" b="1" i="0" u="none" strike="noStrike" kern="0" cap="none" spc="0" normalizeH="0" baseline="0" noProof="0" err="1">
                <a:ln>
                  <a:noFill/>
                </a:ln>
                <a:solidFill>
                  <a:srgbClr val="0027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27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Rectangle 53">
            <a:extLst>
              <a:ext uri="{FF2B5EF4-FFF2-40B4-BE49-F238E27FC236}">
                <a16:creationId xmlns:a16="http://schemas.microsoft.com/office/drawing/2014/main" id="{D5C7B38E-53E8-5EB6-9A95-F821583E0783}"/>
              </a:ext>
            </a:extLst>
          </p:cNvPr>
          <p:cNvSpPr/>
          <p:nvPr/>
        </p:nvSpPr>
        <p:spPr>
          <a:xfrm>
            <a:off x="1574403" y="5474608"/>
            <a:ext cx="1110167" cy="18466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 2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uto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Rectangle 54">
            <a:extLst>
              <a:ext uri="{FF2B5EF4-FFF2-40B4-BE49-F238E27FC236}">
                <a16:creationId xmlns:a16="http://schemas.microsoft.com/office/drawing/2014/main" id="{85BD6D99-72A9-031F-0B50-4FACC5EF7572}"/>
              </a:ext>
            </a:extLst>
          </p:cNvPr>
          <p:cNvSpPr/>
          <p:nvPr/>
        </p:nvSpPr>
        <p:spPr>
          <a:xfrm>
            <a:off x="2761439" y="5474608"/>
            <a:ext cx="1110167" cy="18466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-5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uto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Rectangle 55">
            <a:extLst>
              <a:ext uri="{FF2B5EF4-FFF2-40B4-BE49-F238E27FC236}">
                <a16:creationId xmlns:a16="http://schemas.microsoft.com/office/drawing/2014/main" id="{9602CFB7-C57A-776D-D55F-4BABA5F7F58C}"/>
              </a:ext>
            </a:extLst>
          </p:cNvPr>
          <p:cNvSpPr/>
          <p:nvPr/>
        </p:nvSpPr>
        <p:spPr>
          <a:xfrm>
            <a:off x="3882420" y="5474608"/>
            <a:ext cx="1110167" cy="18466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 5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ut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</a:t>
            </a:r>
          </a:p>
        </p:txBody>
      </p:sp>
      <p:sp>
        <p:nvSpPr>
          <p:cNvPr id="66" name="Rectangle 56">
            <a:extLst>
              <a:ext uri="{FF2B5EF4-FFF2-40B4-BE49-F238E27FC236}">
                <a16:creationId xmlns:a16="http://schemas.microsoft.com/office/drawing/2014/main" id="{82B18D9F-14D7-709D-CC4A-59939E51849F}"/>
              </a:ext>
            </a:extLst>
          </p:cNvPr>
          <p:cNvSpPr/>
          <p:nvPr/>
        </p:nvSpPr>
        <p:spPr>
          <a:xfrm>
            <a:off x="1719279" y="5254809"/>
            <a:ext cx="409897" cy="16337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649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6%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s-E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Rectangle 57">
            <a:extLst>
              <a:ext uri="{FF2B5EF4-FFF2-40B4-BE49-F238E27FC236}">
                <a16:creationId xmlns:a16="http://schemas.microsoft.com/office/drawing/2014/main" id="{330C3F32-9E03-54B1-AD65-E606AD11BEE1}"/>
              </a:ext>
            </a:extLst>
          </p:cNvPr>
          <p:cNvSpPr/>
          <p:nvPr/>
        </p:nvSpPr>
        <p:spPr>
          <a:xfrm>
            <a:off x="2166863" y="5254809"/>
            <a:ext cx="409897" cy="16337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649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.1%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</a:t>
            </a:r>
            <a:endParaRPr kumimoji="0" lang="es-E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Rectangle 59">
            <a:extLst>
              <a:ext uri="{FF2B5EF4-FFF2-40B4-BE49-F238E27FC236}">
                <a16:creationId xmlns:a16="http://schemas.microsoft.com/office/drawing/2014/main" id="{6494143D-0B35-C666-242D-702ECA9C3406}"/>
              </a:ext>
            </a:extLst>
          </p:cNvPr>
          <p:cNvSpPr/>
          <p:nvPr/>
        </p:nvSpPr>
        <p:spPr>
          <a:xfrm>
            <a:off x="2854755" y="5254809"/>
            <a:ext cx="409897" cy="16337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649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.1%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</a:t>
            </a:r>
            <a:endParaRPr kumimoji="0" lang="es-E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Rectangle 60">
            <a:extLst>
              <a:ext uri="{FF2B5EF4-FFF2-40B4-BE49-F238E27FC236}">
                <a16:creationId xmlns:a16="http://schemas.microsoft.com/office/drawing/2014/main" id="{94CFE70E-9E65-6BC2-542D-787284B1A156}"/>
              </a:ext>
            </a:extLst>
          </p:cNvPr>
          <p:cNvSpPr/>
          <p:nvPr/>
        </p:nvSpPr>
        <p:spPr>
          <a:xfrm>
            <a:off x="3302339" y="5254809"/>
            <a:ext cx="409897" cy="16337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649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1.0%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</a:t>
            </a:r>
            <a:endParaRPr kumimoji="0" lang="es-E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Rectangle 61">
            <a:extLst>
              <a:ext uri="{FF2B5EF4-FFF2-40B4-BE49-F238E27FC236}">
                <a16:creationId xmlns:a16="http://schemas.microsoft.com/office/drawing/2014/main" id="{908DD06E-8619-26DA-F48F-D8F50547472F}"/>
              </a:ext>
            </a:extLst>
          </p:cNvPr>
          <p:cNvSpPr/>
          <p:nvPr/>
        </p:nvSpPr>
        <p:spPr>
          <a:xfrm>
            <a:off x="3986435" y="5254809"/>
            <a:ext cx="409897" cy="16337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649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.5%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7</a:t>
            </a:r>
            <a:endParaRPr kumimoji="0" lang="es-E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Rectangle 62">
            <a:extLst>
              <a:ext uri="{FF2B5EF4-FFF2-40B4-BE49-F238E27FC236}">
                <a16:creationId xmlns:a16="http://schemas.microsoft.com/office/drawing/2014/main" id="{5EA96149-5D66-D9E6-D2C2-BC96C94E69D6}"/>
              </a:ext>
            </a:extLst>
          </p:cNvPr>
          <p:cNvSpPr/>
          <p:nvPr/>
        </p:nvSpPr>
        <p:spPr>
          <a:xfrm>
            <a:off x="4434019" y="5254809"/>
            <a:ext cx="409897" cy="16337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649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.6%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</a:t>
            </a:r>
            <a:endParaRPr kumimoji="0" lang="es-E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ectangle 63">
            <a:extLst>
              <a:ext uri="{FF2B5EF4-FFF2-40B4-BE49-F238E27FC236}">
                <a16:creationId xmlns:a16="http://schemas.microsoft.com/office/drawing/2014/main" id="{A0928EC7-BE5C-D35B-81CD-4E62EAF0E69A}"/>
              </a:ext>
            </a:extLst>
          </p:cNvPr>
          <p:cNvSpPr/>
          <p:nvPr/>
        </p:nvSpPr>
        <p:spPr>
          <a:xfrm>
            <a:off x="2138289" y="5715719"/>
            <a:ext cx="2349648" cy="2154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ulta </a:t>
            </a:r>
            <a:r>
              <a:rPr kumimoji="0" lang="en-US" sz="1400" b="1" i="0" u="none" strike="noStrike" kern="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tratamiento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3" name="Group 70">
            <a:extLst>
              <a:ext uri="{FF2B5EF4-FFF2-40B4-BE49-F238E27FC236}">
                <a16:creationId xmlns:a16="http://schemas.microsoft.com/office/drawing/2014/main" id="{7336A081-4C62-CD97-0B3F-3CFA6B94E1B9}"/>
              </a:ext>
            </a:extLst>
          </p:cNvPr>
          <p:cNvGrpSpPr/>
          <p:nvPr/>
        </p:nvGrpSpPr>
        <p:grpSpPr>
          <a:xfrm>
            <a:off x="3871606" y="3553051"/>
            <a:ext cx="1918967" cy="367412"/>
            <a:chOff x="5852160" y="5548630"/>
            <a:chExt cx="1439225" cy="275559"/>
          </a:xfrm>
        </p:grpSpPr>
        <p:grpSp>
          <p:nvGrpSpPr>
            <p:cNvPr id="74" name="Group 66">
              <a:extLst>
                <a:ext uri="{FF2B5EF4-FFF2-40B4-BE49-F238E27FC236}">
                  <a16:creationId xmlns:a16="http://schemas.microsoft.com/office/drawing/2014/main" id="{51ED91D8-92A1-5BE4-8F8F-1523A19B4550}"/>
                </a:ext>
              </a:extLst>
            </p:cNvPr>
            <p:cNvGrpSpPr/>
            <p:nvPr/>
          </p:nvGrpSpPr>
          <p:grpSpPr>
            <a:xfrm>
              <a:off x="5852160" y="5548630"/>
              <a:ext cx="1243921" cy="123159"/>
              <a:chOff x="5852160" y="5548630"/>
              <a:chExt cx="1243921" cy="123159"/>
            </a:xfrm>
          </p:grpSpPr>
          <p:sp>
            <p:nvSpPr>
              <p:cNvPr id="78" name="Rectangle 64">
                <a:extLst>
                  <a:ext uri="{FF2B5EF4-FFF2-40B4-BE49-F238E27FC236}">
                    <a16:creationId xmlns:a16="http://schemas.microsoft.com/office/drawing/2014/main" id="{98C8468E-3417-C6DD-E835-9BECE388F794}"/>
                  </a:ext>
                </a:extLst>
              </p:cNvPr>
              <p:cNvSpPr/>
              <p:nvPr/>
            </p:nvSpPr>
            <p:spPr>
              <a:xfrm>
                <a:off x="6033043" y="5548630"/>
                <a:ext cx="1063038" cy="123159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0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mPC compliant n=35</a:t>
                </a:r>
              </a:p>
            </p:txBody>
          </p:sp>
          <p:sp>
            <p:nvSpPr>
              <p:cNvPr id="79" name="Rectangle 65">
                <a:extLst>
                  <a:ext uri="{FF2B5EF4-FFF2-40B4-BE49-F238E27FC236}">
                    <a16:creationId xmlns:a16="http://schemas.microsoft.com/office/drawing/2014/main" id="{DB9D733A-0CC9-3A76-BBC9-CB9679CCBC28}"/>
                  </a:ext>
                </a:extLst>
              </p:cNvPr>
              <p:cNvSpPr/>
              <p:nvPr/>
            </p:nvSpPr>
            <p:spPr>
              <a:xfrm>
                <a:off x="5852160" y="5555758"/>
                <a:ext cx="108903" cy="108903"/>
              </a:xfrm>
              <a:prstGeom prst="rect">
                <a:avLst/>
              </a:prstGeom>
              <a:solidFill>
                <a:srgbClr val="00BEA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67">
              <a:extLst>
                <a:ext uri="{FF2B5EF4-FFF2-40B4-BE49-F238E27FC236}">
                  <a16:creationId xmlns:a16="http://schemas.microsoft.com/office/drawing/2014/main" id="{53692C96-4A3A-DADB-E6A5-9FA19028300A}"/>
                </a:ext>
              </a:extLst>
            </p:cNvPr>
            <p:cNvGrpSpPr/>
            <p:nvPr/>
          </p:nvGrpSpPr>
          <p:grpSpPr>
            <a:xfrm>
              <a:off x="5852160" y="5701030"/>
              <a:ext cx="1439225" cy="123159"/>
              <a:chOff x="5852160" y="5548630"/>
              <a:chExt cx="1439225" cy="123159"/>
            </a:xfrm>
          </p:grpSpPr>
          <p:sp>
            <p:nvSpPr>
              <p:cNvPr id="76" name="Rectangle 68">
                <a:extLst>
                  <a:ext uri="{FF2B5EF4-FFF2-40B4-BE49-F238E27FC236}">
                    <a16:creationId xmlns:a16="http://schemas.microsoft.com/office/drawing/2014/main" id="{2F8E5613-26EF-DCCF-649F-1A1FDC5F54A0}"/>
                  </a:ext>
                </a:extLst>
              </p:cNvPr>
              <p:cNvSpPr/>
              <p:nvPr/>
            </p:nvSpPr>
            <p:spPr>
              <a:xfrm>
                <a:off x="6033043" y="5548630"/>
                <a:ext cx="1258342" cy="123159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0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mPC non-compliant n=53</a:t>
                </a:r>
              </a:p>
            </p:txBody>
          </p:sp>
          <p:sp>
            <p:nvSpPr>
              <p:cNvPr id="77" name="Rectangle 69">
                <a:extLst>
                  <a:ext uri="{FF2B5EF4-FFF2-40B4-BE49-F238E27FC236}">
                    <a16:creationId xmlns:a16="http://schemas.microsoft.com/office/drawing/2014/main" id="{B3351127-CBFE-6CEF-C824-D84DCC66BCE7}"/>
                  </a:ext>
                </a:extLst>
              </p:cNvPr>
              <p:cNvSpPr/>
              <p:nvPr/>
            </p:nvSpPr>
            <p:spPr>
              <a:xfrm>
                <a:off x="5852160" y="5555758"/>
                <a:ext cx="108903" cy="108903"/>
              </a:xfrm>
              <a:prstGeom prst="rect">
                <a:avLst/>
              </a:prstGeom>
              <a:solidFill>
                <a:srgbClr val="002855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0" name="Grupo 79">
            <a:extLst>
              <a:ext uri="{FF2B5EF4-FFF2-40B4-BE49-F238E27FC236}">
                <a16:creationId xmlns:a16="http://schemas.microsoft.com/office/drawing/2014/main" id="{6E0CCFEF-DFBF-80D0-1138-F24DA2FF1DD1}"/>
              </a:ext>
            </a:extLst>
          </p:cNvPr>
          <p:cNvGrpSpPr/>
          <p:nvPr/>
        </p:nvGrpSpPr>
        <p:grpSpPr>
          <a:xfrm>
            <a:off x="6280721" y="1064297"/>
            <a:ext cx="5532396" cy="4931387"/>
            <a:chOff x="6280721" y="1064297"/>
            <a:chExt cx="5532396" cy="4931387"/>
          </a:xfrm>
        </p:grpSpPr>
        <p:sp>
          <p:nvSpPr>
            <p:cNvPr id="81" name="Rectangle: Rounded Corners 13">
              <a:extLst>
                <a:ext uri="{FF2B5EF4-FFF2-40B4-BE49-F238E27FC236}">
                  <a16:creationId xmlns:a16="http://schemas.microsoft.com/office/drawing/2014/main" id="{93FAFD6C-A3E3-E9FF-D509-C0DF1C1A1C53}"/>
                </a:ext>
              </a:extLst>
            </p:cNvPr>
            <p:cNvSpPr/>
            <p:nvPr/>
          </p:nvSpPr>
          <p:spPr>
            <a:xfrm>
              <a:off x="6299673" y="1064297"/>
              <a:ext cx="5513444" cy="477116"/>
            </a:xfrm>
            <a:prstGeom prst="roundRect">
              <a:avLst/>
            </a:prstGeom>
            <a:solidFill>
              <a:srgbClr val="002855"/>
            </a:solidFill>
            <a:ln w="12700" cap="flat" cmpd="sng" algn="ctr">
              <a:solidFill>
                <a:srgbClr val="002855">
                  <a:shade val="1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67" b="1" i="0" u="none" strike="noStrike" kern="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Hallazgos</a:t>
              </a:r>
              <a:r>
                <a:rPr kumimoji="0" lang="en-GB" sz="1867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clave</a:t>
              </a:r>
              <a:r>
                <a:rPr kumimoji="0" lang="en-GB" sz="1867" b="1" i="0" u="none" strike="noStrike" kern="0" cap="none" spc="0" normalizeH="0" baseline="3000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</a:t>
              </a:r>
            </a:p>
          </p:txBody>
        </p:sp>
        <p:grpSp>
          <p:nvGrpSpPr>
            <p:cNvPr id="82" name="Group 14">
              <a:extLst>
                <a:ext uri="{FF2B5EF4-FFF2-40B4-BE49-F238E27FC236}">
                  <a16:creationId xmlns:a16="http://schemas.microsoft.com/office/drawing/2014/main" id="{0DB0203C-ED4A-C131-4674-CD49C68177B5}"/>
                </a:ext>
              </a:extLst>
            </p:cNvPr>
            <p:cNvGrpSpPr/>
            <p:nvPr/>
          </p:nvGrpSpPr>
          <p:grpSpPr>
            <a:xfrm>
              <a:off x="6299675" y="1637549"/>
              <a:ext cx="5513440" cy="667586"/>
              <a:chOff x="4724756" y="3543344"/>
              <a:chExt cx="4135080" cy="742775"/>
            </a:xfrm>
          </p:grpSpPr>
          <p:sp>
            <p:nvSpPr>
              <p:cNvPr id="95" name="TextBox 15">
                <a:extLst>
                  <a:ext uri="{FF2B5EF4-FFF2-40B4-BE49-F238E27FC236}">
                    <a16:creationId xmlns:a16="http://schemas.microsoft.com/office/drawing/2014/main" id="{4B4FCA1A-4EB0-E1BA-2E09-708AD30DAC93}"/>
                  </a:ext>
                </a:extLst>
              </p:cNvPr>
              <p:cNvSpPr txBox="1"/>
              <p:nvPr/>
            </p:nvSpPr>
            <p:spPr>
              <a:xfrm>
                <a:off x="4736415" y="3543344"/>
                <a:ext cx="4123421" cy="742775"/>
              </a:xfrm>
              <a:prstGeom prst="roundRect">
                <a:avLst>
                  <a:gd name="adj" fmla="val 11032"/>
                </a:avLst>
              </a:prstGeom>
              <a:solidFill>
                <a:srgbClr val="FFFFFF">
                  <a:lumMod val="95000"/>
                </a:srgbClr>
              </a:solidFill>
              <a:ln>
                <a:noFill/>
              </a:ln>
            </p:spPr>
            <p:txBody>
              <a:bodyPr wrap="square" lIns="182880" rtlCol="0" anchor="ctr" anchorCtr="0">
                <a:noAutofit/>
              </a:bodyPr>
              <a:lstStyle/>
              <a:p>
                <a:pPr marL="0" marR="0" lvl="0" indent="0" defTabSz="12191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La tasa de incumplimiento fue del </a:t>
                </a:r>
                <a:r>
                  <a:rPr kumimoji="0" lang="es-E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46,9%</a:t>
                </a: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(n=53), y sólo el </a:t>
                </a:r>
                <a:r>
                  <a:rPr kumimoji="0" lang="es-E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30,9% </a:t>
                </a: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(n = 35) utilizó los tratamientos tópicos según el </a:t>
                </a:r>
                <a:r>
                  <a:rPr kumimoji="0" lang="es-ES" sz="1400" b="0" i="0" u="none" strike="noStrike" kern="0" cap="none" spc="0" normalizeH="0" baseline="0" noProof="0" err="1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SmPC</a:t>
                </a: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.</a:t>
                </a: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endParaRPr>
              </a:p>
            </p:txBody>
          </p:sp>
          <p:sp>
            <p:nvSpPr>
              <p:cNvPr id="96" name="Rectangle: Top Corners Rounded 16">
                <a:extLst>
                  <a:ext uri="{FF2B5EF4-FFF2-40B4-BE49-F238E27FC236}">
                    <a16:creationId xmlns:a16="http://schemas.microsoft.com/office/drawing/2014/main" id="{1AC08706-5BA7-1F9C-AEAF-81694EA16DEB}"/>
                  </a:ext>
                </a:extLst>
              </p:cNvPr>
              <p:cNvSpPr/>
              <p:nvPr/>
            </p:nvSpPr>
            <p:spPr>
              <a:xfrm rot="16200000">
                <a:off x="4398985" y="3869115"/>
                <a:ext cx="742775" cy="9123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2855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tIns="0" bIns="0" rtlCol="0" anchor="ctr" anchorCtr="0"/>
              <a:lstStyle/>
              <a:p>
                <a:pPr marL="0" marR="0" lvl="0" indent="0" algn="ctr" defTabSz="91435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67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3" name="Group 17">
              <a:extLst>
                <a:ext uri="{FF2B5EF4-FFF2-40B4-BE49-F238E27FC236}">
                  <a16:creationId xmlns:a16="http://schemas.microsoft.com/office/drawing/2014/main" id="{030E4D16-27B3-9DAE-A3F7-E614ECAE3E51}"/>
                </a:ext>
              </a:extLst>
            </p:cNvPr>
            <p:cNvGrpSpPr/>
            <p:nvPr/>
          </p:nvGrpSpPr>
          <p:grpSpPr>
            <a:xfrm>
              <a:off x="6280721" y="3023326"/>
              <a:ext cx="5513440" cy="1226357"/>
              <a:chOff x="4724756" y="3536266"/>
              <a:chExt cx="4135080" cy="749853"/>
            </a:xfrm>
          </p:grpSpPr>
          <p:sp>
            <p:nvSpPr>
              <p:cNvPr id="93" name="TextBox 18">
                <a:extLst>
                  <a:ext uri="{FF2B5EF4-FFF2-40B4-BE49-F238E27FC236}">
                    <a16:creationId xmlns:a16="http://schemas.microsoft.com/office/drawing/2014/main" id="{30ECF1BA-9DC0-FB37-3E13-A992E244D414}"/>
                  </a:ext>
                </a:extLst>
              </p:cNvPr>
              <p:cNvSpPr txBox="1"/>
              <p:nvPr/>
            </p:nvSpPr>
            <p:spPr>
              <a:xfrm>
                <a:off x="4736415" y="3536266"/>
                <a:ext cx="4123421" cy="742775"/>
              </a:xfrm>
              <a:prstGeom prst="roundRect">
                <a:avLst>
                  <a:gd name="adj" fmla="val 11032"/>
                </a:avLst>
              </a:prstGeom>
              <a:solidFill>
                <a:srgbClr val="FFFFFF">
                  <a:lumMod val="95000"/>
                </a:srgbClr>
              </a:solidFill>
              <a:ln>
                <a:noFill/>
              </a:ln>
            </p:spPr>
            <p:txBody>
              <a:bodyPr wrap="square" lIns="182880" rtlCol="0" anchor="ctr" anchorCtr="0">
                <a:noAutofit/>
              </a:bodyPr>
              <a:lstStyle/>
              <a:p>
                <a:pPr marL="0" marR="0" lvl="0" indent="0" defTabSz="12191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sym typeface="Wingdings" panose="05000000000000000000" pitchFamily="2" charset="2"/>
                  </a:rPr>
                  <a:t>Los pacientes del grupo que no cumplieron con el tratamiento estaban significativamente </a:t>
                </a:r>
                <a:r>
                  <a:rPr kumimoji="0" lang="es-E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sym typeface="Wingdings" panose="05000000000000000000" pitchFamily="2" charset="2"/>
                  </a:rPr>
                  <a:t>menos informados sobre el tiempo de aplicación de la intervención tópica específica, el período de tiempo ajustado y la frecuencia </a:t>
                </a: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sym typeface="Wingdings" panose="05000000000000000000" pitchFamily="2" charset="2"/>
                  </a:rPr>
                  <a:t>de aplicación de la terapia, independientemente de su médico.</a:t>
                </a: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endParaRPr>
              </a:p>
            </p:txBody>
          </p:sp>
          <p:sp>
            <p:nvSpPr>
              <p:cNvPr id="94" name="Rectangle: Top Corners Rounded 19">
                <a:extLst>
                  <a:ext uri="{FF2B5EF4-FFF2-40B4-BE49-F238E27FC236}">
                    <a16:creationId xmlns:a16="http://schemas.microsoft.com/office/drawing/2014/main" id="{E00EBA12-4C54-4C36-BE78-B16C0486F2CE}"/>
                  </a:ext>
                </a:extLst>
              </p:cNvPr>
              <p:cNvSpPr/>
              <p:nvPr/>
            </p:nvSpPr>
            <p:spPr>
              <a:xfrm rot="16200000">
                <a:off x="4398985" y="3869115"/>
                <a:ext cx="742775" cy="9123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2855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tIns="0" bIns="0" rtlCol="0" anchor="ctr" anchorCtr="0"/>
              <a:lstStyle/>
              <a:p>
                <a:pPr marL="0" marR="0" lvl="0" indent="0" algn="ctr" defTabSz="91435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67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4" name="Group 20">
              <a:extLst>
                <a:ext uri="{FF2B5EF4-FFF2-40B4-BE49-F238E27FC236}">
                  <a16:creationId xmlns:a16="http://schemas.microsoft.com/office/drawing/2014/main" id="{2C082517-FE88-DFBA-1A61-E1645E479A58}"/>
                </a:ext>
              </a:extLst>
            </p:cNvPr>
            <p:cNvGrpSpPr/>
            <p:nvPr/>
          </p:nvGrpSpPr>
          <p:grpSpPr>
            <a:xfrm>
              <a:off x="6294084" y="4308067"/>
              <a:ext cx="5513440" cy="696500"/>
              <a:chOff x="4724756" y="3543344"/>
              <a:chExt cx="4135080" cy="742775"/>
            </a:xfrm>
          </p:grpSpPr>
          <p:sp>
            <p:nvSpPr>
              <p:cNvPr id="91" name="TextBox 21">
                <a:extLst>
                  <a:ext uri="{FF2B5EF4-FFF2-40B4-BE49-F238E27FC236}">
                    <a16:creationId xmlns:a16="http://schemas.microsoft.com/office/drawing/2014/main" id="{1DAE0328-14CD-E590-23A3-4405C5880FEF}"/>
                  </a:ext>
                </a:extLst>
              </p:cNvPr>
              <p:cNvSpPr txBox="1"/>
              <p:nvPr/>
            </p:nvSpPr>
            <p:spPr>
              <a:xfrm>
                <a:off x="4736415" y="3543344"/>
                <a:ext cx="4123421" cy="742775"/>
              </a:xfrm>
              <a:prstGeom prst="roundRect">
                <a:avLst>
                  <a:gd name="adj" fmla="val 11032"/>
                </a:avLst>
              </a:prstGeom>
              <a:solidFill>
                <a:srgbClr val="FFFFFF">
                  <a:lumMod val="95000"/>
                </a:srgbClr>
              </a:solidFill>
              <a:ln>
                <a:noFill/>
              </a:ln>
            </p:spPr>
            <p:txBody>
              <a:bodyPr wrap="square" lIns="182880" rtlCol="0" anchor="ctr" anchorCtr="0">
                <a:noAutofit/>
              </a:bodyPr>
              <a:lstStyle/>
              <a:p>
                <a:pPr marL="0" marR="0" lvl="0" indent="0" defTabSz="12191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sym typeface="Wingdings" panose="05000000000000000000" pitchFamily="2" charset="2"/>
                  </a:rPr>
                  <a:t>Una </a:t>
                </a:r>
                <a:r>
                  <a:rPr kumimoji="0" lang="es-E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sym typeface="Wingdings" panose="05000000000000000000" pitchFamily="2" charset="2"/>
                  </a:rPr>
                  <a:t>consulta exhaustiva previa al tratamiento </a:t>
                </a: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sym typeface="Wingdings" panose="05000000000000000000" pitchFamily="2" charset="2"/>
                  </a:rPr>
                  <a:t>puede ayudar a aumentar la adherencia al tratamiento y garantizar la eliminación de la lesión.</a:t>
                </a: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endParaRPr>
              </a:p>
            </p:txBody>
          </p:sp>
          <p:sp>
            <p:nvSpPr>
              <p:cNvPr id="92" name="Rectangle: Top Corners Rounded 22">
                <a:extLst>
                  <a:ext uri="{FF2B5EF4-FFF2-40B4-BE49-F238E27FC236}">
                    <a16:creationId xmlns:a16="http://schemas.microsoft.com/office/drawing/2014/main" id="{F51C11F2-68CB-96BC-EA01-46988E0C7241}"/>
                  </a:ext>
                </a:extLst>
              </p:cNvPr>
              <p:cNvSpPr/>
              <p:nvPr/>
            </p:nvSpPr>
            <p:spPr>
              <a:xfrm rot="16200000">
                <a:off x="4398985" y="3869115"/>
                <a:ext cx="742775" cy="9123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2855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tIns="0" bIns="0" rtlCol="0" anchor="ctr" anchorCtr="0"/>
              <a:lstStyle/>
              <a:p>
                <a:pPr marL="0" marR="0" lvl="0" indent="0" algn="ctr" defTabSz="91435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67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5" name="Group 23">
              <a:extLst>
                <a:ext uri="{FF2B5EF4-FFF2-40B4-BE49-F238E27FC236}">
                  <a16:creationId xmlns:a16="http://schemas.microsoft.com/office/drawing/2014/main" id="{76D50B36-FCC2-CE36-FC58-A5376E60E974}"/>
                </a:ext>
              </a:extLst>
            </p:cNvPr>
            <p:cNvGrpSpPr/>
            <p:nvPr/>
          </p:nvGrpSpPr>
          <p:grpSpPr>
            <a:xfrm>
              <a:off x="6294084" y="5077761"/>
              <a:ext cx="5513440" cy="917923"/>
              <a:chOff x="4724756" y="3543344"/>
              <a:chExt cx="4135080" cy="742775"/>
            </a:xfrm>
          </p:grpSpPr>
          <p:sp>
            <p:nvSpPr>
              <p:cNvPr id="89" name="TextBox 24">
                <a:extLst>
                  <a:ext uri="{FF2B5EF4-FFF2-40B4-BE49-F238E27FC236}">
                    <a16:creationId xmlns:a16="http://schemas.microsoft.com/office/drawing/2014/main" id="{45EBCE08-ADB1-A15F-926E-A53995A320F9}"/>
                  </a:ext>
                </a:extLst>
              </p:cNvPr>
              <p:cNvSpPr txBox="1"/>
              <p:nvPr/>
            </p:nvSpPr>
            <p:spPr>
              <a:xfrm>
                <a:off x="4736415" y="3543344"/>
                <a:ext cx="4123421" cy="742775"/>
              </a:xfrm>
              <a:prstGeom prst="roundRect">
                <a:avLst>
                  <a:gd name="adj" fmla="val 11032"/>
                </a:avLst>
              </a:prstGeom>
              <a:solidFill>
                <a:srgbClr val="FFFFFF">
                  <a:lumMod val="95000"/>
                </a:srgbClr>
              </a:solidFill>
              <a:ln>
                <a:noFill/>
              </a:ln>
            </p:spPr>
            <p:txBody>
              <a:bodyPr wrap="square" lIns="182880" rtlCol="0" anchor="ctr" anchorCtr="0">
                <a:noAutofit/>
              </a:bodyPr>
              <a:lstStyle/>
              <a:p>
                <a:pPr marL="0" marR="0" lvl="0" indent="0" defTabSz="12191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sym typeface="Wingdings" panose="05000000000000000000" pitchFamily="2" charset="2"/>
                  </a:rPr>
                  <a:t>“Una instrucción más larga y mejor sobre el uso de medicamentos tópicos puede aumentar su uso correcto, la adherencia al tratamiento y la eliminación de AK”</a:t>
                </a: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endParaRPr>
              </a:p>
            </p:txBody>
          </p:sp>
          <p:sp>
            <p:nvSpPr>
              <p:cNvPr id="90" name="Rectangle: Top Corners Rounded 25">
                <a:extLst>
                  <a:ext uri="{FF2B5EF4-FFF2-40B4-BE49-F238E27FC236}">
                    <a16:creationId xmlns:a16="http://schemas.microsoft.com/office/drawing/2014/main" id="{AABA3656-52A3-66CE-6992-18EC6903BF5C}"/>
                  </a:ext>
                </a:extLst>
              </p:cNvPr>
              <p:cNvSpPr/>
              <p:nvPr/>
            </p:nvSpPr>
            <p:spPr>
              <a:xfrm rot="16200000">
                <a:off x="4398985" y="3869115"/>
                <a:ext cx="742775" cy="9123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2855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tIns="0" bIns="0" rtlCol="0" anchor="ctr" anchorCtr="0"/>
              <a:lstStyle/>
              <a:p>
                <a:pPr marL="0" marR="0" lvl="0" indent="0" algn="ctr" defTabSz="91435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67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6" name="Group 2">
              <a:extLst>
                <a:ext uri="{FF2B5EF4-FFF2-40B4-BE49-F238E27FC236}">
                  <a16:creationId xmlns:a16="http://schemas.microsoft.com/office/drawing/2014/main" id="{4310495E-32DE-9141-2A54-F822E87E8ADD}"/>
                </a:ext>
              </a:extLst>
            </p:cNvPr>
            <p:cNvGrpSpPr/>
            <p:nvPr/>
          </p:nvGrpSpPr>
          <p:grpSpPr>
            <a:xfrm>
              <a:off x="6294084" y="2375412"/>
              <a:ext cx="5513440" cy="583667"/>
              <a:chOff x="4724756" y="3543344"/>
              <a:chExt cx="4135080" cy="742775"/>
            </a:xfrm>
          </p:grpSpPr>
          <p:sp>
            <p:nvSpPr>
              <p:cNvPr id="87" name="TextBox 3">
                <a:extLst>
                  <a:ext uri="{FF2B5EF4-FFF2-40B4-BE49-F238E27FC236}">
                    <a16:creationId xmlns:a16="http://schemas.microsoft.com/office/drawing/2014/main" id="{FE0BDD27-ABF4-5767-395D-07B81099E412}"/>
                  </a:ext>
                </a:extLst>
              </p:cNvPr>
              <p:cNvSpPr txBox="1"/>
              <p:nvPr/>
            </p:nvSpPr>
            <p:spPr>
              <a:xfrm>
                <a:off x="4736415" y="3543344"/>
                <a:ext cx="4123421" cy="742775"/>
              </a:xfrm>
              <a:prstGeom prst="roundRect">
                <a:avLst>
                  <a:gd name="adj" fmla="val 11032"/>
                </a:avLst>
              </a:prstGeom>
              <a:solidFill>
                <a:srgbClr val="FFFFFF">
                  <a:lumMod val="95000"/>
                </a:srgbClr>
              </a:solidFill>
              <a:ln>
                <a:noFill/>
              </a:ln>
            </p:spPr>
            <p:txBody>
              <a:bodyPr wrap="square" lIns="182880" rtlCol="0" anchor="ctr" anchorCtr="0">
                <a:noAutofit/>
              </a:bodyPr>
              <a:lstStyle/>
              <a:p>
                <a:pPr marL="0" marR="0" lvl="0" indent="0" defTabSz="12191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Las </a:t>
                </a:r>
                <a:r>
                  <a:rPr kumimoji="0" lang="es-E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preocupaciones</a:t>
                </a: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estaban </a:t>
                </a:r>
                <a:r>
                  <a:rPr kumimoji="0" lang="es-ES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relacionadas</a:t>
                </a: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principalmente con la </a:t>
                </a:r>
                <a:r>
                  <a:rPr kumimoji="0" lang="es-ES" sz="1400" b="0" i="0" u="sng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duración de la terapia </a:t>
                </a: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(30%) </a:t>
                </a:r>
                <a:r>
                  <a:rPr kumimoji="0" lang="es-ES" sz="1400" b="0" i="0" u="sng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y su efectividad </a:t>
                </a:r>
                <a:r>
                  <a:rPr kumimoji="0" lang="es-ES" sz="1400" b="0" i="0" u="none" strike="noStrike" kern="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(24,5%).</a:t>
                </a: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sym typeface="Wingdings" panose="05000000000000000000" pitchFamily="2" charset="2"/>
                </a:endParaRPr>
              </a:p>
            </p:txBody>
          </p:sp>
          <p:sp>
            <p:nvSpPr>
              <p:cNvPr id="88" name="Rectangle: Top Corners Rounded 4">
                <a:extLst>
                  <a:ext uri="{FF2B5EF4-FFF2-40B4-BE49-F238E27FC236}">
                    <a16:creationId xmlns:a16="http://schemas.microsoft.com/office/drawing/2014/main" id="{7C2BE6E6-AA54-F0FC-9C46-639E74F570B0}"/>
                  </a:ext>
                </a:extLst>
              </p:cNvPr>
              <p:cNvSpPr/>
              <p:nvPr/>
            </p:nvSpPr>
            <p:spPr>
              <a:xfrm rot="16200000">
                <a:off x="4398985" y="3869115"/>
                <a:ext cx="742775" cy="9123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2855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tIns="0" bIns="0" rtlCol="0" anchor="ctr" anchorCtr="0"/>
              <a:lstStyle/>
              <a:p>
                <a:pPr marL="0" marR="0" lvl="0" indent="0" algn="ctr" defTabSz="91435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67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97" name="Marcador de texto 1">
            <a:extLst>
              <a:ext uri="{FF2B5EF4-FFF2-40B4-BE49-F238E27FC236}">
                <a16:creationId xmlns:a16="http://schemas.microsoft.com/office/drawing/2014/main" id="{608001D9-0781-1FF7-2BC8-44822E41D872}"/>
              </a:ext>
            </a:extLst>
          </p:cNvPr>
          <p:cNvSpPr txBox="1">
            <a:spLocks/>
          </p:cNvSpPr>
          <p:nvPr/>
        </p:nvSpPr>
        <p:spPr>
          <a:xfrm>
            <a:off x="1297369" y="1328096"/>
            <a:ext cx="3982053" cy="47486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ortancia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la </a:t>
            </a: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herencia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C8B49111-0279-42CA-76C8-890B469DA7BA}"/>
              </a:ext>
            </a:extLst>
          </p:cNvPr>
          <p:cNvSpPr txBox="1">
            <a:spLocks/>
          </p:cNvSpPr>
          <p:nvPr/>
        </p:nvSpPr>
        <p:spPr>
          <a:xfrm>
            <a:off x="1780870" y="6281741"/>
            <a:ext cx="7635023" cy="47486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800">
                <a:solidFill>
                  <a:schemeClr val="bg1">
                    <a:lumMod val="65000"/>
                  </a:schemeClr>
                </a:solidFill>
              </a:rPr>
              <a:t>AK, actinic keratosis; SmPC, Summary of Product Characteristics.</a:t>
            </a:r>
            <a:br>
              <a:rPr lang="en-US" sz="800" b="1">
                <a:solidFill>
                  <a:schemeClr val="bg1">
                    <a:lumMod val="65000"/>
                  </a:schemeClr>
                </a:solidFill>
              </a:rPr>
            </a:br>
            <a:r>
              <a:rPr lang="en-US" sz="800">
                <a:solidFill>
                  <a:schemeClr val="bg1">
                    <a:lumMod val="65000"/>
                  </a:schemeClr>
                </a:solidFill>
              </a:rPr>
              <a:t>Koch EAT, et al. Poor Adherence to Self-Applied Topical Drug Treatment Is a Common Source of Low Lesion Clearance in Patients with Actinic Keratosis—A Cross-Sectional Study. J Clin Med. 2023;12:3813. </a:t>
            </a:r>
          </a:p>
        </p:txBody>
      </p:sp>
    </p:spTree>
    <p:extLst>
      <p:ext uri="{BB962C8B-B14F-4D97-AF65-F5344CB8AC3E}">
        <p14:creationId xmlns:p14="http://schemas.microsoft.com/office/powerpoint/2010/main" val="36238549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8488CE5-3C25-7739-FB7E-2746452EF5D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lnSpcReduction="10000"/>
          </a:bodyPr>
          <a:lstStyle/>
          <a:p>
            <a:r>
              <a:rPr lang="es-ES_tradnl"/>
              <a:t>Ponente 1 – Introducción</a:t>
            </a:r>
          </a:p>
          <a:p>
            <a:r>
              <a:rPr lang="es-ES_tradnl"/>
              <a:t>Evidencia Clínica </a:t>
            </a:r>
            <a:r>
              <a:rPr lang="es-ES_tradnl" err="1"/>
              <a:t>Klisyri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6303903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A2B7AC6-10F4-3C96-5B63-A089708CE6F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5572" y="269017"/>
            <a:ext cx="8675401" cy="843114"/>
          </a:xfrm>
        </p:spPr>
        <p:txBody>
          <a:bodyPr>
            <a:normAutofit lnSpcReduction="10000"/>
          </a:bodyPr>
          <a:lstStyle/>
          <a:p>
            <a:r>
              <a:rPr lang="es-ES"/>
              <a:t>¿Qué impacto tiene la posología en la adherencia del paciente al tratamiento?</a:t>
            </a:r>
          </a:p>
          <a:p>
            <a:endParaRPr lang="es-ES"/>
          </a:p>
        </p:txBody>
      </p:sp>
      <p:sp>
        <p:nvSpPr>
          <p:cNvPr id="13" name="Marcador de contenido 4">
            <a:extLst>
              <a:ext uri="{FF2B5EF4-FFF2-40B4-BE49-F238E27FC236}">
                <a16:creationId xmlns:a16="http://schemas.microsoft.com/office/drawing/2014/main" id="{0DD2E1DF-2F59-0D70-B1D0-C8ACD09FD372}"/>
              </a:ext>
            </a:extLst>
          </p:cNvPr>
          <p:cNvSpPr txBox="1">
            <a:spLocks/>
          </p:cNvSpPr>
          <p:nvPr/>
        </p:nvSpPr>
        <p:spPr>
          <a:xfrm>
            <a:off x="587463" y="1478327"/>
            <a:ext cx="9328697" cy="746644"/>
          </a:xfrm>
          <a:prstGeom prst="roundRect">
            <a:avLst/>
          </a:prstGeom>
          <a:solidFill>
            <a:srgbClr val="FFCCCC"/>
          </a:solidFill>
          <a:ln w="28575">
            <a:solidFill>
              <a:srgbClr val="376092"/>
            </a:solidFill>
          </a:ln>
        </p:spPr>
        <p:txBody>
          <a:bodyPr wrap="square" anchor="t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RBANIBULINA HA DEMOSTRADO UN CUMPLIMIENTO DEL TRATAMIENTO DE  </a:t>
            </a:r>
            <a:r>
              <a:rPr kumimoji="0" lang="es-ES" sz="2400" b="1" i="0" u="none" strike="noStrike" kern="0" cap="none" spc="0" normalizeH="0" baseline="0" noProof="0">
                <a:ln>
                  <a:noFill/>
                </a:ln>
                <a:solidFill>
                  <a:srgbClr val="F1414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≥99%</a:t>
            </a:r>
            <a:r>
              <a:rPr kumimoji="0" lang="es-ES" sz="2400" b="1" i="0" u="none" strike="noStrike" kern="0" cap="none" spc="0" normalizeH="0" baseline="30000" noProof="0">
                <a:ln>
                  <a:noFill/>
                </a:ln>
                <a:solidFill>
                  <a:srgbClr val="F1414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,2</a:t>
            </a:r>
            <a:endParaRPr kumimoji="0" lang="en-GB" sz="1600" b="1" i="0" u="none" strike="noStrike" kern="0" cap="none" spc="0" normalizeH="0" baseline="30000" noProof="0">
              <a:ln>
                <a:noFill/>
              </a:ln>
              <a:solidFill>
                <a:srgbClr val="F1414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7E8A6799-A907-6F8A-D5C4-807ED836056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76431"/>
          <a:stretch/>
        </p:blipFill>
        <p:spPr>
          <a:xfrm>
            <a:off x="150191" y="2688075"/>
            <a:ext cx="4448311" cy="1473028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559168BE-58BE-4A2D-000D-22045DA3689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310" t="47603" r="15025" b="27058"/>
          <a:stretch/>
        </p:blipFill>
        <p:spPr>
          <a:xfrm>
            <a:off x="3689131" y="2595426"/>
            <a:ext cx="3048000" cy="1473025"/>
          </a:xfrm>
          <a:prstGeom prst="rect">
            <a:avLst/>
          </a:prstGeom>
        </p:spPr>
      </p:pic>
      <p:sp>
        <p:nvSpPr>
          <p:cNvPr id="16" name="TextBox 19">
            <a:extLst>
              <a:ext uri="{FF2B5EF4-FFF2-40B4-BE49-F238E27FC236}">
                <a16:creationId xmlns:a16="http://schemas.microsoft.com/office/drawing/2014/main" id="{FAD8E6C9-C0A8-9758-C59D-D3C8B861AB9A}"/>
              </a:ext>
            </a:extLst>
          </p:cNvPr>
          <p:cNvSpPr txBox="1"/>
          <p:nvPr/>
        </p:nvSpPr>
        <p:spPr>
          <a:xfrm>
            <a:off x="7227523" y="4893720"/>
            <a:ext cx="2359747" cy="600164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defPPr>
              <a:defRPr lang="es-ES_tradnl"/>
            </a:defPPr>
            <a:lvl1pPr>
              <a:defRPr sz="1050">
                <a:solidFill>
                  <a:schemeClr val="accent1"/>
                </a:solidFill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s-ES" sz="2400" b="1">
                <a:solidFill>
                  <a:srgbClr val="E8434A"/>
                </a:solidFill>
                <a:latin typeface="Dreaming Outloud Pro" panose="03050502040302030504" pitchFamily="66" charset="0"/>
                <a:cs typeface="Dreaming Outloud Pro" panose="03050502040302030504" pitchFamily="66" charset="0"/>
              </a:rPr>
              <a:t>Bien tolerado</a:t>
            </a:r>
            <a:r>
              <a:rPr lang="es-ES" sz="2400" b="1" baseline="30000">
                <a:solidFill>
                  <a:srgbClr val="E8434A"/>
                </a:solidFill>
                <a:latin typeface="Dreaming Outloud Pro" panose="03050502040302030504" pitchFamily="66" charset="0"/>
                <a:cs typeface="Dreaming Outloud Pro" panose="03050502040302030504" pitchFamily="66" charset="0"/>
              </a:rPr>
              <a:t>1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9D500225-D5C6-E044-2FE1-94FD975AB22C}"/>
              </a:ext>
            </a:extLst>
          </p:cNvPr>
          <p:cNvSpPr/>
          <p:nvPr/>
        </p:nvSpPr>
        <p:spPr>
          <a:xfrm>
            <a:off x="1469091" y="6251352"/>
            <a:ext cx="894901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750" b="1" i="0" u="none" strike="noStrike" kern="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1. </a:t>
            </a:r>
            <a:r>
              <a:rPr kumimoji="0" lang="es-ES_tradnl" sz="75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</a:rPr>
              <a:t>.Blauvelt A, et al. Phase 3 Tirbanibulin for Actinic Keratosis Group. Phase 3 Trials of Tirbanibulin Ointment for Actinic Keratosis. N Engl J Med. 2021 Feb 11;384(6):512-520. </a:t>
            </a:r>
            <a:r>
              <a:rPr kumimoji="0" lang="es-ES_tradnl" sz="750" b="1" i="0" u="none" strike="noStrike" kern="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2. </a:t>
            </a:r>
            <a:r>
              <a:rPr kumimoji="0" lang="es-ES_tradnl" sz="75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</a:rPr>
              <a:t>.Blauvelt A, et al. Tirbanibulin a novel inhibitor of tubulin polymerisation andSre kinase signalling, for actinic keratosis: results from two phase Ill studies. Póster presentado en el European Association of Dermato Oncology (EADO) virtual congress, 12-14 Noviembre 2020.</a:t>
            </a:r>
            <a:r>
              <a:rPr kumimoji="0" lang="en-US" sz="75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cs typeface="Arial" panose="020B0604020202020204" pitchFamily="34" charset="0"/>
              </a:rPr>
              <a:t> </a:t>
            </a: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ea typeface="Arial" panose="020B0604020202020204" pitchFamily="34" charset="0"/>
                <a:cs typeface="Arial" panose="020B0604020202020204" pitchFamily="34" charset="0"/>
              </a:rPr>
              <a:t>.Marson JW, et al. Considerations in the Management of Actinic Keratosis: The Importance of Adherence and Persistence to Therapy. The National Society for Cutaneous Medicine. 2021;5(2).</a:t>
            </a:r>
            <a:r>
              <a:rPr kumimoji="0" lang="es-ES_tradnl" sz="750" b="1" i="0" u="none" strike="noStrike" kern="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4.</a:t>
            </a:r>
            <a:r>
              <a:rPr lang="es-ES_tradnl" sz="750" kern="0" noProof="1">
                <a:solidFill>
                  <a:prstClr val="white">
                    <a:lumMod val="65000"/>
                  </a:prstClr>
                </a:solidFill>
              </a:rPr>
              <a:t> </a:t>
            </a:r>
            <a:r>
              <a:rPr kumimoji="0" lang="es-ES_tradnl" sz="75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</a:rPr>
              <a:t>Grada A, </a:t>
            </a:r>
            <a:r>
              <a:rPr lang="es-ES_tradnl" sz="750" kern="0" noProof="1">
                <a:solidFill>
                  <a:prstClr val="white">
                    <a:lumMod val="65000"/>
                  </a:prstClr>
                </a:solidFill>
              </a:rPr>
              <a:t>et al. </a:t>
            </a:r>
            <a:r>
              <a:rPr kumimoji="0" lang="es-ES_tradnl" sz="75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</a:rPr>
              <a:t>Patient-reported outcomes of topical therapies in actinic keratosis: A systematic review. Dermatol Ther. 2021 Mar;34(2):e14833. 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CF032BC1-F235-FE60-B8E1-CA199C5F9B2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842" t="23635" r="16899" b="52796"/>
          <a:stretch/>
        </p:blipFill>
        <p:spPr>
          <a:xfrm>
            <a:off x="6662056" y="2614397"/>
            <a:ext cx="2947389" cy="1473027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AA3B150A-20CF-2279-8D3C-37195E211B0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065"/>
          <a:stretch/>
        </p:blipFill>
        <p:spPr>
          <a:xfrm>
            <a:off x="1566110" y="4155733"/>
            <a:ext cx="4137676" cy="150763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2CFE934-22BE-E70F-4116-3C010264E3AC}"/>
              </a:ext>
            </a:extLst>
          </p:cNvPr>
          <p:cNvSpPr txBox="1"/>
          <p:nvPr/>
        </p:nvSpPr>
        <p:spPr>
          <a:xfrm>
            <a:off x="9130973" y="3609961"/>
            <a:ext cx="2947388" cy="830997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defPPr>
              <a:defRPr lang="es-ES_tradnl"/>
            </a:defPPr>
            <a:lvl1pPr>
              <a:defRPr sz="105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2400" b="1">
                <a:solidFill>
                  <a:srgbClr val="E8434A"/>
                </a:solidFill>
                <a:latin typeface="Dreaming Outloud Pro" panose="03050502040302030504" pitchFamily="66" charset="0"/>
                <a:cs typeface="Dreaming Outloud Pro" panose="03050502040302030504" pitchFamily="66" charset="0"/>
              </a:rPr>
              <a:t>Posología simple de </a:t>
            </a:r>
            <a:endParaRPr lang="es-ES" sz="2400" b="1" baseline="30000">
              <a:solidFill>
                <a:srgbClr val="E8434A"/>
              </a:solidFill>
              <a:latin typeface="Dreaming Outloud Pro" panose="03050502040302030504" pitchFamily="66" charset="0"/>
              <a:cs typeface="Dreaming Outloud Pro" panose="03050502040302030504" pitchFamily="66" charset="0"/>
            </a:endParaRPr>
          </a:p>
          <a:p>
            <a:pPr algn="ctr"/>
            <a:r>
              <a:rPr lang="es-ES" sz="2400" b="1">
                <a:solidFill>
                  <a:srgbClr val="E8434A"/>
                </a:solidFill>
                <a:latin typeface="Dreaming Outloud Pro" panose="03050502040302030504" pitchFamily="66" charset="0"/>
                <a:cs typeface="Dreaming Outloud Pro" panose="03050502040302030504" pitchFamily="66" charset="0"/>
              </a:rPr>
              <a:t> corta duración</a:t>
            </a:r>
            <a:r>
              <a:rPr lang="es-ES" sz="2400" b="1" baseline="30000">
                <a:solidFill>
                  <a:srgbClr val="E8434A"/>
                </a:solidFill>
                <a:latin typeface="Dreaming Outloud Pro" panose="03050502040302030504" pitchFamily="66" charset="0"/>
                <a:cs typeface="Dreaming Outloud Pro" panose="03050502040302030504" pitchFamily="66" charset="0"/>
              </a:rPr>
              <a:t>4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F7A810CD-365B-E67E-D782-9B225076DA50}"/>
              </a:ext>
            </a:extLst>
          </p:cNvPr>
          <p:cNvSpPr txBox="1"/>
          <p:nvPr/>
        </p:nvSpPr>
        <p:spPr>
          <a:xfrm>
            <a:off x="566056" y="2401991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_tradnl">
                <a:solidFill>
                  <a:srgbClr val="4472C4"/>
                </a:solidFill>
                <a:latin typeface="Calibri Light" panose="020F0302020204030204"/>
              </a:rPr>
              <a:t>La adherencia al tratamiento depende de</a:t>
            </a:r>
            <a:r>
              <a:rPr lang="es-ES_tradnl" baseline="30000">
                <a:solidFill>
                  <a:srgbClr val="4472C4"/>
                </a:solidFill>
                <a:latin typeface="Calibri Light" panose="020F0302020204030204"/>
              </a:rPr>
              <a:t>3</a:t>
            </a:r>
            <a:r>
              <a:rPr lang="es-ES_tradnl">
                <a:solidFill>
                  <a:srgbClr val="4472C4"/>
                </a:solidFill>
                <a:latin typeface="Calibri Light" panose="020F0302020204030204"/>
              </a:rPr>
              <a:t>:</a:t>
            </a:r>
            <a:endParaRPr lang="es-ES" baseline="30000">
              <a:solidFill>
                <a:srgbClr val="4472C4"/>
              </a:solidFill>
              <a:latin typeface="Calibri Light" panose="020F0302020204030204"/>
            </a:endParaRPr>
          </a:p>
        </p:txBody>
      </p:sp>
      <p:sp>
        <p:nvSpPr>
          <p:cNvPr id="22" name="Arco 21">
            <a:extLst>
              <a:ext uri="{FF2B5EF4-FFF2-40B4-BE49-F238E27FC236}">
                <a16:creationId xmlns:a16="http://schemas.microsoft.com/office/drawing/2014/main" id="{67A2D5A1-765D-0429-94FC-186E6DA3AFE2}"/>
              </a:ext>
            </a:extLst>
          </p:cNvPr>
          <p:cNvSpPr/>
          <p:nvPr/>
        </p:nvSpPr>
        <p:spPr>
          <a:xfrm rot="19802040">
            <a:off x="8903568" y="3102327"/>
            <a:ext cx="2266549" cy="3052533"/>
          </a:xfrm>
          <a:prstGeom prst="arc">
            <a:avLst>
              <a:gd name="adj1" fmla="val 16706464"/>
              <a:gd name="adj2" fmla="val 20326325"/>
            </a:avLst>
          </a:prstGeom>
          <a:ln w="38100" cap="rnd">
            <a:solidFill>
              <a:srgbClr val="F14144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193275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: esquinas redondeadas 18">
            <a:extLst>
              <a:ext uri="{FF2B5EF4-FFF2-40B4-BE49-F238E27FC236}">
                <a16:creationId xmlns:a16="http://schemas.microsoft.com/office/drawing/2014/main" id="{6C1432CB-2BAA-E8DC-D6CE-064642574CDA}"/>
              </a:ext>
            </a:extLst>
          </p:cNvPr>
          <p:cNvSpPr/>
          <p:nvPr/>
        </p:nvSpPr>
        <p:spPr>
          <a:xfrm>
            <a:off x="900068" y="2497477"/>
            <a:ext cx="9884597" cy="1573782"/>
          </a:xfrm>
          <a:prstGeom prst="roundRect">
            <a:avLst/>
          </a:prstGeom>
          <a:solidFill>
            <a:srgbClr val="BDD7EE">
              <a:alpha val="58039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27CC2EB-4E87-18E5-ED36-1E2F54762F3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1350" y="272823"/>
            <a:ext cx="9064793" cy="1356288"/>
          </a:xfrm>
        </p:spPr>
        <p:txBody>
          <a:bodyPr>
            <a:normAutofit/>
          </a:bodyPr>
          <a:lstStyle/>
          <a:p>
            <a:r>
              <a:rPr lang="es-ES" sz="2400"/>
              <a:t>¿Valoras positivamente la alta predisposición </a:t>
            </a:r>
            <a:r>
              <a:rPr lang="es-ES" sz="1900"/>
              <a:t>(tanto de pacientes como de los médicos)</a:t>
            </a:r>
            <a:r>
              <a:rPr lang="es-ES" sz="2400"/>
              <a:t> a volver a utilizar </a:t>
            </a:r>
            <a:r>
              <a:rPr lang="es-ES" sz="2400" err="1"/>
              <a:t>tirbanibulina</a:t>
            </a:r>
            <a:r>
              <a:rPr lang="es-ES" sz="2400"/>
              <a:t> de nuevo? 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91584D2B-3796-4D84-089A-67793DDC1898}"/>
              </a:ext>
            </a:extLst>
          </p:cNvPr>
          <p:cNvSpPr txBox="1"/>
          <p:nvPr/>
        </p:nvSpPr>
        <p:spPr>
          <a:xfrm>
            <a:off x="783403" y="1717011"/>
            <a:ext cx="98845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>
                <a:solidFill>
                  <a:srgbClr val="002060"/>
                </a:solidFill>
                <a:latin typeface="Calibri" panose="020F0502020204030204"/>
              </a:rPr>
              <a:t>Como ya sabemos la queratosis actínica es una patología recurrente por lo que es importante valorar la probabilidad que el fármaco sea usado de nuevo.</a:t>
            </a:r>
            <a:endParaRPr lang="es-ES" sz="1600">
              <a:solidFill>
                <a:srgbClr val="002060"/>
              </a:solidFill>
              <a:latin typeface="Calibri" panose="020F0502020204030204"/>
            </a:endParaRP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EEC80BFF-239B-7327-A7AD-24D8B03B7DF8}"/>
              </a:ext>
            </a:extLst>
          </p:cNvPr>
          <p:cNvGrpSpPr/>
          <p:nvPr/>
        </p:nvGrpSpPr>
        <p:grpSpPr>
          <a:xfrm>
            <a:off x="1103014" y="2663996"/>
            <a:ext cx="9547894" cy="1200329"/>
            <a:chOff x="874415" y="2217680"/>
            <a:chExt cx="9547894" cy="1200329"/>
          </a:xfrm>
        </p:grpSpPr>
        <p:grpSp>
          <p:nvGrpSpPr>
            <p:cNvPr id="9" name="Grupo 8">
              <a:extLst>
                <a:ext uri="{FF2B5EF4-FFF2-40B4-BE49-F238E27FC236}">
                  <a16:creationId xmlns:a16="http://schemas.microsoft.com/office/drawing/2014/main" id="{9DF770BE-61BC-B6F8-79F9-359B639CDC51}"/>
                </a:ext>
              </a:extLst>
            </p:cNvPr>
            <p:cNvGrpSpPr/>
            <p:nvPr/>
          </p:nvGrpSpPr>
          <p:grpSpPr>
            <a:xfrm>
              <a:off x="2444857" y="2217680"/>
              <a:ext cx="7977452" cy="1200329"/>
              <a:chOff x="1319565" y="2791556"/>
              <a:chExt cx="7977452" cy="1200329"/>
            </a:xfrm>
          </p:grpSpPr>
          <p:sp>
            <p:nvSpPr>
              <p:cNvPr id="10" name="CuadroTexto 9">
                <a:extLst>
                  <a:ext uri="{FF2B5EF4-FFF2-40B4-BE49-F238E27FC236}">
                    <a16:creationId xmlns:a16="http://schemas.microsoft.com/office/drawing/2014/main" id="{C06C9B94-22EE-8A79-B584-6318DEE3338C}"/>
                  </a:ext>
                </a:extLst>
              </p:cNvPr>
              <p:cNvSpPr txBox="1"/>
              <p:nvPr/>
            </p:nvSpPr>
            <p:spPr>
              <a:xfrm>
                <a:off x="1319565" y="2791556"/>
                <a:ext cx="2464289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80%</a:t>
                </a:r>
                <a:r>
                  <a:rPr kumimoji="0" lang="es-ES_tradnl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</a:t>
                </a:r>
                <a:r>
                  <a:rPr kumimoji="0" lang="es-ES_tradnl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en </a:t>
                </a:r>
                <a:r>
                  <a:rPr lang="es-ES_tradnl" sz="2000" b="1">
                    <a:solidFill>
                      <a:srgbClr val="00999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AK</a:t>
                </a:r>
                <a:r>
                  <a:rPr lang="es-ES_tradnl" sz="2000" b="1" baseline="30000">
                    <a:solidFill>
                      <a:srgbClr val="00999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  <a:endParaRPr lang="es-ES_tradnl" sz="1400" b="1" baseline="30000">
                  <a:solidFill>
                    <a:srgbClr val="00999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97%</a:t>
                </a:r>
                <a:r>
                  <a:rPr kumimoji="0" lang="es-ES_tradnl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</a:t>
                </a:r>
                <a:r>
                  <a:rPr kumimoji="0" lang="es-ES_tradnl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en </a:t>
                </a:r>
                <a:r>
                  <a:rPr lang="es-ES_tradnl" sz="2000" b="1">
                    <a:solidFill>
                      <a:srgbClr val="00999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KLIR</a:t>
                </a:r>
                <a:r>
                  <a:rPr lang="es-ES_tradnl" sz="2000" b="1" baseline="30000">
                    <a:solidFill>
                      <a:srgbClr val="00999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87%</a:t>
                </a:r>
                <a:r>
                  <a:rPr kumimoji="0" lang="es-ES_tradnl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</a:t>
                </a:r>
                <a:r>
                  <a:rPr kumimoji="0" lang="es-ES_tradnl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en </a:t>
                </a:r>
                <a:r>
                  <a:rPr lang="es-ES_tradnl" sz="2000" b="1">
                    <a:solidFill>
                      <a:srgbClr val="00999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irbaSkin</a:t>
                </a:r>
                <a:r>
                  <a:rPr lang="es-ES_tradnl" sz="2000" b="1" baseline="30000">
                    <a:solidFill>
                      <a:srgbClr val="00999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  <a:endParaRPr lang="es-ES" sz="2000" b="1" baseline="30000">
                  <a:solidFill>
                    <a:srgbClr val="00999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A1E990EE-59BC-9592-26CB-673082AD5FBE}"/>
                  </a:ext>
                </a:extLst>
              </p:cNvPr>
              <p:cNvSpPr txBox="1"/>
              <p:nvPr/>
            </p:nvSpPr>
            <p:spPr>
              <a:xfrm>
                <a:off x="3903600" y="3076246"/>
                <a:ext cx="5393417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de los pacientes volverían a </a:t>
                </a:r>
                <a:r>
                  <a:rPr kumimoji="0" lang="es-ES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considerar </a:t>
                </a:r>
                <a:r>
                  <a:rPr kumimoji="0" lang="es-ES" sz="16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tirbanibulina</a:t>
                </a:r>
                <a:r>
                  <a:rPr kumimoji="0" lang="es-ES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 de nuevo </a:t>
                </a:r>
                <a:r>
                  <a:rPr kumimoji="0" lang="es-ES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para futuras lesiones de QA </a:t>
                </a:r>
                <a:r>
                  <a:rPr kumimoji="0" lang="es-ES" sz="1600" b="1" i="0" u="none" strike="noStrike" kern="0" cap="none" spc="0" normalizeH="0" baseline="3000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1,3,4</a:t>
                </a:r>
                <a:endParaRPr kumimoji="0" lang="es-ES" sz="16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  <p:sp>
            <p:nvSpPr>
              <p:cNvPr id="12" name="Cerrar llave 11">
                <a:extLst>
                  <a:ext uri="{FF2B5EF4-FFF2-40B4-BE49-F238E27FC236}">
                    <a16:creationId xmlns:a16="http://schemas.microsoft.com/office/drawing/2014/main" id="{7B5BF640-0B5D-C39C-99AB-051ABFA42C66}"/>
                  </a:ext>
                </a:extLst>
              </p:cNvPr>
              <p:cNvSpPr/>
              <p:nvPr/>
            </p:nvSpPr>
            <p:spPr>
              <a:xfrm>
                <a:off x="3674693" y="2791556"/>
                <a:ext cx="207135" cy="1200329"/>
              </a:xfrm>
              <a:prstGeom prst="rightBrace">
                <a:avLst/>
              </a:prstGeom>
              <a:noFill/>
              <a:ln w="635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251AEB5C-D8CC-CC20-A948-AD1F31575E8D}"/>
                </a:ext>
              </a:extLst>
            </p:cNvPr>
            <p:cNvSpPr txBox="1"/>
            <p:nvPr/>
          </p:nvSpPr>
          <p:spPr>
            <a:xfrm>
              <a:off x="874415" y="2648567"/>
              <a:ext cx="153937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_tradnl" sz="1600">
                  <a:solidFill>
                    <a:srgbClr val="002060"/>
                  </a:solidFill>
                </a:rPr>
                <a:t>En semana 8:</a:t>
              </a:r>
              <a:endParaRPr lang="es-ES" sz="1600">
                <a:solidFill>
                  <a:srgbClr val="002060"/>
                </a:solidFill>
              </a:endParaRPr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7BF912DE-D434-EAED-F8B5-67FF542FF97B}"/>
              </a:ext>
            </a:extLst>
          </p:cNvPr>
          <p:cNvSpPr txBox="1"/>
          <p:nvPr/>
        </p:nvSpPr>
        <p:spPr>
          <a:xfrm>
            <a:off x="1283781" y="6236588"/>
            <a:ext cx="8985439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just" defTabSz="914378">
              <a:defRPr/>
            </a:pPr>
            <a:r>
              <a:rPr lang="en-US" sz="800" b="1">
                <a:solidFill>
                  <a:srgbClr val="002060"/>
                </a:solidFill>
                <a:cs typeface="Arial" panose="020B0604020202020204" pitchFamily="34" charset="0"/>
              </a:rPr>
              <a:t>1. </a:t>
            </a:r>
            <a:r>
              <a:rPr lang="en-GB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Schlesinger, T et al. Clinician-and Patient-Reported Outcomes with </a:t>
            </a:r>
            <a:r>
              <a:rPr lang="en-GB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Tirbanibulin</a:t>
            </a:r>
            <a:r>
              <a:rPr lang="en-GB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1% Treatment for Actinic Keratosis in Routine Clinical Practice Across the US (PROAK Study). SKIN The Journal of Cutaneous Medicine, 2023, 7(3), 771-787</a:t>
            </a:r>
            <a:r>
              <a:rPr lang="en-U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. </a:t>
            </a:r>
            <a:r>
              <a:rPr kumimoji="0" lang="es-ES_tradnl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lesinger T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KIN 2023, 7(6), s262 </a:t>
            </a:r>
            <a:r>
              <a:rPr lang="da-DK" sz="800" b="1">
                <a:solidFill>
                  <a:srgbClr val="002060"/>
                </a:solidFill>
                <a:cs typeface="Arial" panose="020B0604020202020204" pitchFamily="34" charset="0"/>
              </a:rPr>
              <a:t>3. </a:t>
            </a:r>
            <a:r>
              <a:rPr lang="es-ES_tradnl" sz="800" noProof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Heppt M, et al. </a:t>
            </a:r>
            <a:r>
              <a:rPr lang="en-US" sz="800" noProof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Real-world evidence of tirbanibulin for actinic keratosis in Germany – First insights into patient-reported outcomes. Poster numero P2716 y abstract (ID 989) presentado en el congreso AEDV Berlin, 11-14 octubre 2023</a:t>
            </a:r>
            <a:r>
              <a:rPr lang="en-US" sz="800" noProof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.</a:t>
            </a:r>
            <a:r>
              <a:rPr lang="da-DK" sz="800" b="1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es-ES" sz="800" b="1">
                <a:solidFill>
                  <a:srgbClr val="002060"/>
                </a:solidFill>
                <a:cs typeface="Arial" panose="020B0604020202020204" pitchFamily="34" charset="0"/>
              </a:rPr>
              <a:t>4</a:t>
            </a:r>
            <a:r>
              <a:rPr lang="es-ES" sz="800">
                <a:solidFill>
                  <a:srgbClr val="6BDEE1"/>
                </a:solidFill>
                <a:cs typeface="Arial" panose="020B0604020202020204" pitchFamily="34" charset="0"/>
              </a:rPr>
              <a:t>.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Blauvelt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A, et al.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Phase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3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Tirbanibulin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for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Actinic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Keratosi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Group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.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Phase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3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Trial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of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Tirbanibulin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Ointment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for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Actinic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Keratosi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. N Engl J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Med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. 2021 Feb 11;384(6):512-520. </a:t>
            </a:r>
            <a:endParaRPr lang="da-DK" sz="800">
              <a:solidFill>
                <a:prstClr val="white">
                  <a:lumMod val="65000"/>
                </a:prstClr>
              </a:solidFill>
              <a:cs typeface="Arial" panose="020B0604020202020204" pitchFamily="34" charset="0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324D24CA-10D1-F3D7-08B6-4EEBA429FCE8}"/>
              </a:ext>
            </a:extLst>
          </p:cNvPr>
          <p:cNvGrpSpPr/>
          <p:nvPr/>
        </p:nvGrpSpPr>
        <p:grpSpPr>
          <a:xfrm>
            <a:off x="1621970" y="4385835"/>
            <a:ext cx="8414658" cy="1266492"/>
            <a:chOff x="6223034" y="3721826"/>
            <a:chExt cx="5494438" cy="1572178"/>
          </a:xfrm>
        </p:grpSpPr>
        <p:sp>
          <p:nvSpPr>
            <p:cNvPr id="21" name="Rectángulo: esquinas redondeadas 20">
              <a:extLst>
                <a:ext uri="{FF2B5EF4-FFF2-40B4-BE49-F238E27FC236}">
                  <a16:creationId xmlns:a16="http://schemas.microsoft.com/office/drawing/2014/main" id="{7B9A572B-6B08-148B-3758-FAEADB8A215F}"/>
                </a:ext>
              </a:extLst>
            </p:cNvPr>
            <p:cNvSpPr/>
            <p:nvPr/>
          </p:nvSpPr>
          <p:spPr>
            <a:xfrm>
              <a:off x="6223034" y="3721826"/>
              <a:ext cx="5494438" cy="1572178"/>
            </a:xfrm>
            <a:prstGeom prst="roundRect">
              <a:avLst/>
            </a:prstGeom>
            <a:solidFill>
              <a:srgbClr val="FFCCCC">
                <a:alpha val="36863"/>
              </a:srgb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34EF6304-E706-F2CB-81FC-34BB2F1C3CE1}"/>
                </a:ext>
              </a:extLst>
            </p:cNvPr>
            <p:cNvSpPr txBox="1"/>
            <p:nvPr/>
          </p:nvSpPr>
          <p:spPr>
            <a:xfrm>
              <a:off x="6389872" y="3883608"/>
              <a:ext cx="5137779" cy="123430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el </a:t>
              </a:r>
              <a:r>
                <a:rPr lang="es-ES" sz="2000" b="1">
                  <a:solidFill>
                    <a:srgbClr val="0099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studio PROAK</a:t>
              </a:r>
              <a:r>
                <a:rPr lang="es-ES" sz="2000" b="1" baseline="30000">
                  <a:solidFill>
                    <a:srgbClr val="00999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su </a:t>
              </a:r>
              <a:r>
                <a:rPr kumimoji="0" lang="es-ES" sz="14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seo de considerar nuevamente </a:t>
              </a:r>
              <a:r>
                <a:rPr kumimoji="0" lang="es-ES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rbanibulina</a:t>
              </a:r>
              <a:r>
                <a:rPr kumimoji="0" lang="es-ES" sz="14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s-ES" sz="14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 mantuvo </a:t>
              </a: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más de un </a:t>
              </a:r>
              <a:r>
                <a:rPr kumimoji="0" lang="es-ES" sz="28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7% </a:t>
              </a:r>
              <a:r>
                <a:rPr kumimoji="0" lang="es-ES" b="1" i="0" u="sng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sta la semana 24</a:t>
              </a:r>
              <a:r>
                <a:rPr kumimoji="0" lang="es-ES" b="1" i="0" u="none" strike="noStrike" kern="120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s-ES" sz="14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</a:t>
              </a:r>
              <a:endPara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851280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Box 32">
            <a:extLst>
              <a:ext uri="{FF2B5EF4-FFF2-40B4-BE49-F238E27FC236}">
                <a16:creationId xmlns:a16="http://schemas.microsoft.com/office/drawing/2014/main" id="{436F53ED-5253-2DDC-0A3F-8E2AD5F5CB21}"/>
              </a:ext>
            </a:extLst>
          </p:cNvPr>
          <p:cNvSpPr txBox="1"/>
          <p:nvPr/>
        </p:nvSpPr>
        <p:spPr>
          <a:xfrm>
            <a:off x="1672466" y="6232391"/>
            <a:ext cx="85294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PQ, Expert Panel Questionnaire 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</a:t>
            </a:r>
            <a:r>
              <a:rPr kumimoji="0" lang="fr-FR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apted from: 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lesinger, T et al. (2023). SKIN The Journal of </a:t>
            </a:r>
            <a:r>
              <a:rPr kumimoji="0" lang="fr-FR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taneous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ine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 7(3), 771-787.</a:t>
            </a:r>
            <a:r>
              <a:rPr kumimoji="0" lang="da-DK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lesinger T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KIN 2023, 7(6), s262 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ppt M, et al.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al-world evidence of tirbanibulin for actinic keratosis in Germany – First insights into patient-reported outcomes. Poster numero P2716 y abstract (ID 989) presentado en el congreso AEDV Berlin, 11-14 octubre 2023. 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4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laberte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Y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t al.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Marcador de texto 1">
            <a:extLst>
              <a:ext uri="{FF2B5EF4-FFF2-40B4-BE49-F238E27FC236}">
                <a16:creationId xmlns:a16="http://schemas.microsoft.com/office/drawing/2014/main" id="{572B3263-CE8A-56EE-6BEA-3D43B1FDB6F0}"/>
              </a:ext>
            </a:extLst>
          </p:cNvPr>
          <p:cNvSpPr txBox="1">
            <a:spLocks/>
          </p:cNvSpPr>
          <p:nvPr/>
        </p:nvSpPr>
        <p:spPr>
          <a:xfrm>
            <a:off x="79642" y="71385"/>
            <a:ext cx="9559273" cy="385428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8C93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EPQ –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Probabilidad de considerar de nuevo tirbanibulina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A76D1BD1-4038-C6A8-DB6A-2D2B06191049}"/>
              </a:ext>
            </a:extLst>
          </p:cNvPr>
          <p:cNvSpPr txBox="1"/>
          <p:nvPr/>
        </p:nvSpPr>
        <p:spPr>
          <a:xfrm>
            <a:off x="3991460" y="694921"/>
            <a:ext cx="10214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ana 8</a:t>
            </a:r>
          </a:p>
        </p:txBody>
      </p:sp>
      <p:grpSp>
        <p:nvGrpSpPr>
          <p:cNvPr id="80" name="Grupo 79">
            <a:extLst>
              <a:ext uri="{FF2B5EF4-FFF2-40B4-BE49-F238E27FC236}">
                <a16:creationId xmlns:a16="http://schemas.microsoft.com/office/drawing/2014/main" id="{7987F394-FE51-1F38-477B-49B34CEBD6AF}"/>
              </a:ext>
            </a:extLst>
          </p:cNvPr>
          <p:cNvGrpSpPr/>
          <p:nvPr/>
        </p:nvGrpSpPr>
        <p:grpSpPr>
          <a:xfrm>
            <a:off x="2121605" y="1090806"/>
            <a:ext cx="4100549" cy="2082579"/>
            <a:chOff x="953529" y="1090806"/>
            <a:chExt cx="3976975" cy="2082579"/>
          </a:xfrm>
        </p:grpSpPr>
        <p:grpSp>
          <p:nvGrpSpPr>
            <p:cNvPr id="81" name="Grupo 80">
              <a:extLst>
                <a:ext uri="{FF2B5EF4-FFF2-40B4-BE49-F238E27FC236}">
                  <a16:creationId xmlns:a16="http://schemas.microsoft.com/office/drawing/2014/main" id="{3B9E94FF-2C9B-4C6C-F006-2F7B0B9F4229}"/>
                </a:ext>
              </a:extLst>
            </p:cNvPr>
            <p:cNvGrpSpPr/>
            <p:nvPr/>
          </p:nvGrpSpPr>
          <p:grpSpPr>
            <a:xfrm>
              <a:off x="1049744" y="1110582"/>
              <a:ext cx="3880760" cy="1797469"/>
              <a:chOff x="369794" y="1273442"/>
              <a:chExt cx="3928098" cy="2633888"/>
            </a:xfrm>
          </p:grpSpPr>
          <p:graphicFrame>
            <p:nvGraphicFramePr>
              <p:cNvPr id="84" name="Chart 14">
                <a:extLst>
                  <a:ext uri="{FF2B5EF4-FFF2-40B4-BE49-F238E27FC236}">
                    <a16:creationId xmlns:a16="http://schemas.microsoft.com/office/drawing/2014/main" id="{D60E0E92-1272-0F25-E913-C7B3F351C10E}"/>
                  </a:ext>
                </a:extLst>
              </p:cNvPr>
              <p:cNvGraphicFramePr/>
              <p:nvPr/>
            </p:nvGraphicFramePr>
            <p:xfrm>
              <a:off x="369794" y="1273442"/>
              <a:ext cx="3928098" cy="253516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85" name="TextBox 95">
                <a:extLst>
                  <a:ext uri="{FF2B5EF4-FFF2-40B4-BE49-F238E27FC236}">
                    <a16:creationId xmlns:a16="http://schemas.microsoft.com/office/drawing/2014/main" id="{819C1B8D-7E6B-3DF8-37F3-24DEAE0E5583}"/>
                  </a:ext>
                </a:extLst>
              </p:cNvPr>
              <p:cNvSpPr txBox="1"/>
              <p:nvPr/>
            </p:nvSpPr>
            <p:spPr>
              <a:xfrm>
                <a:off x="515319" y="3569085"/>
                <a:ext cx="650893" cy="33824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2004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=290</a:t>
                </a:r>
              </a:p>
            </p:txBody>
          </p:sp>
        </p:grpSp>
        <p:sp>
          <p:nvSpPr>
            <p:cNvPr id="82" name="TextBox 25">
              <a:extLst>
                <a:ext uri="{FF2B5EF4-FFF2-40B4-BE49-F238E27FC236}">
                  <a16:creationId xmlns:a16="http://schemas.microsoft.com/office/drawing/2014/main" id="{EF7975BE-14E3-C163-67B0-247FDAFC4380}"/>
                </a:ext>
              </a:extLst>
            </p:cNvPr>
            <p:cNvSpPr txBox="1"/>
            <p:nvPr/>
          </p:nvSpPr>
          <p:spPr>
            <a:xfrm rot="16200000">
              <a:off x="106265" y="1938070"/>
              <a:ext cx="2082579" cy="3880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porción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cientes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ínicos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 la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mana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8</a:t>
              </a:r>
            </a:p>
          </p:txBody>
        </p:sp>
        <p:sp>
          <p:nvSpPr>
            <p:cNvPr id="83" name="Rectángulo 82">
              <a:extLst>
                <a:ext uri="{FF2B5EF4-FFF2-40B4-BE49-F238E27FC236}">
                  <a16:creationId xmlns:a16="http://schemas.microsoft.com/office/drawing/2014/main" id="{69CC38B5-DDFA-164B-61F6-CF679525FBB4}"/>
                </a:ext>
              </a:extLst>
            </p:cNvPr>
            <p:cNvSpPr/>
            <p:nvPr/>
          </p:nvSpPr>
          <p:spPr>
            <a:xfrm>
              <a:off x="1809632" y="1320402"/>
              <a:ext cx="1026367" cy="169545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7" name="Group 53">
            <a:extLst>
              <a:ext uri="{FF2B5EF4-FFF2-40B4-BE49-F238E27FC236}">
                <a16:creationId xmlns:a16="http://schemas.microsoft.com/office/drawing/2014/main" id="{1ED342F1-328C-11BD-F02F-250446BB1FFD}"/>
              </a:ext>
            </a:extLst>
          </p:cNvPr>
          <p:cNvGrpSpPr/>
          <p:nvPr/>
        </p:nvGrpSpPr>
        <p:grpSpPr>
          <a:xfrm>
            <a:off x="1847985" y="4700386"/>
            <a:ext cx="5545034" cy="1265079"/>
            <a:chOff x="15803298" y="11472817"/>
            <a:chExt cx="13824000" cy="3636001"/>
          </a:xfrm>
        </p:grpSpPr>
        <p:graphicFrame>
          <p:nvGraphicFramePr>
            <p:cNvPr id="88" name="Chart 54">
              <a:extLst>
                <a:ext uri="{FF2B5EF4-FFF2-40B4-BE49-F238E27FC236}">
                  <a16:creationId xmlns:a16="http://schemas.microsoft.com/office/drawing/2014/main" id="{A764392B-F3EA-29A3-517B-C6CED49FC8C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621241306"/>
                </p:ext>
              </p:extLst>
            </p:nvPr>
          </p:nvGraphicFramePr>
          <p:xfrm>
            <a:off x="15803298" y="11472817"/>
            <a:ext cx="13824000" cy="363600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89" name="TextBox 57">
              <a:extLst>
                <a:ext uri="{FF2B5EF4-FFF2-40B4-BE49-F238E27FC236}">
                  <a16:creationId xmlns:a16="http://schemas.microsoft.com/office/drawing/2014/main" id="{C3134D84-E70F-F0B8-FB96-99771D1E1A81}"/>
                </a:ext>
              </a:extLst>
            </p:cNvPr>
            <p:cNvSpPr txBox="1"/>
            <p:nvPr/>
          </p:nvSpPr>
          <p:spPr>
            <a:xfrm>
              <a:off x="15930633" y="14370672"/>
              <a:ext cx="1389309" cy="5604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8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=205</a:t>
              </a:r>
            </a:p>
          </p:txBody>
        </p:sp>
      </p:grpSp>
      <p:sp>
        <p:nvSpPr>
          <p:cNvPr id="91" name="CuadroTexto 90">
            <a:extLst>
              <a:ext uri="{FF2B5EF4-FFF2-40B4-BE49-F238E27FC236}">
                <a16:creationId xmlns:a16="http://schemas.microsoft.com/office/drawing/2014/main" id="{F95E0C90-FFD6-C1EE-2F41-FF98C8DE39B3}"/>
              </a:ext>
            </a:extLst>
          </p:cNvPr>
          <p:cNvSpPr txBox="1"/>
          <p:nvPr/>
        </p:nvSpPr>
        <p:spPr>
          <a:xfrm>
            <a:off x="2701589" y="3371919"/>
            <a:ext cx="3538204" cy="646331"/>
          </a:xfrm>
          <a:prstGeom prst="rect">
            <a:avLst/>
          </a:prstGeom>
          <a:solidFill>
            <a:srgbClr val="E1F3E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7% de los pacientes </a:t>
            </a: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iderarían </a:t>
            </a:r>
            <a:r>
              <a:rPr kumimoji="0" lang="es-ES_tradnl" sz="12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ar </a:t>
            </a:r>
            <a:r>
              <a:rPr kumimoji="0" lang="es-ES_tradnl" sz="1200" b="1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rbanibulina</a:t>
            </a:r>
            <a:r>
              <a:rPr kumimoji="0" lang="es-ES_tradnl" sz="12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nuevo </a:t>
            </a: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a el tratamiento de lesiones de QA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3" name="Rectángulo 92">
            <a:extLst>
              <a:ext uri="{FF2B5EF4-FFF2-40B4-BE49-F238E27FC236}">
                <a16:creationId xmlns:a16="http://schemas.microsoft.com/office/drawing/2014/main" id="{CF76D628-DA26-2218-E587-21BD1ACB725B}"/>
              </a:ext>
            </a:extLst>
          </p:cNvPr>
          <p:cNvSpPr/>
          <p:nvPr/>
        </p:nvSpPr>
        <p:spPr>
          <a:xfrm>
            <a:off x="1284514" y="694049"/>
            <a:ext cx="6302830" cy="5361312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4" name="Grupo 93">
            <a:extLst>
              <a:ext uri="{FF2B5EF4-FFF2-40B4-BE49-F238E27FC236}">
                <a16:creationId xmlns:a16="http://schemas.microsoft.com/office/drawing/2014/main" id="{80F2BE1B-35A8-BE77-D1E7-A837EA4E2F2D}"/>
              </a:ext>
            </a:extLst>
          </p:cNvPr>
          <p:cNvGrpSpPr/>
          <p:nvPr/>
        </p:nvGrpSpPr>
        <p:grpSpPr>
          <a:xfrm>
            <a:off x="7839649" y="2721670"/>
            <a:ext cx="3709559" cy="1367007"/>
            <a:chOff x="6223034" y="3721825"/>
            <a:chExt cx="4072349" cy="1562999"/>
          </a:xfrm>
        </p:grpSpPr>
        <p:sp>
          <p:nvSpPr>
            <p:cNvPr id="95" name="Rectángulo 94">
              <a:extLst>
                <a:ext uri="{FF2B5EF4-FFF2-40B4-BE49-F238E27FC236}">
                  <a16:creationId xmlns:a16="http://schemas.microsoft.com/office/drawing/2014/main" id="{CC8CF934-4873-A901-11DF-CE1C334A56E7}"/>
                </a:ext>
              </a:extLst>
            </p:cNvPr>
            <p:cNvSpPr/>
            <p:nvPr/>
          </p:nvSpPr>
          <p:spPr>
            <a:xfrm>
              <a:off x="6223034" y="3721825"/>
              <a:ext cx="4072349" cy="1562999"/>
            </a:xfrm>
            <a:prstGeom prst="rect">
              <a:avLst/>
            </a:prstGeom>
            <a:solidFill>
              <a:srgbClr val="FFCCCC">
                <a:alpha val="36863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CuadroTexto 95">
              <a:extLst>
                <a:ext uri="{FF2B5EF4-FFF2-40B4-BE49-F238E27FC236}">
                  <a16:creationId xmlns:a16="http://schemas.microsoft.com/office/drawing/2014/main" id="{1F588097-D5D1-A37B-4354-482ADC27D595}"/>
                </a:ext>
              </a:extLst>
            </p:cNvPr>
            <p:cNvSpPr txBox="1"/>
            <p:nvPr/>
          </p:nvSpPr>
          <p:spPr>
            <a:xfrm>
              <a:off x="6393154" y="3836319"/>
              <a:ext cx="3782724" cy="12664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todos los estudios hasta la fecha más del </a:t>
              </a:r>
              <a:r>
                <a:rPr kumimoji="0" lang="es-E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5%</a:t>
              </a:r>
              <a:r>
                <a:rPr kumimoji="0" lang="es-ES" sz="1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los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édicos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 más del </a:t>
              </a:r>
              <a:r>
                <a:rPr kumimoji="0" lang="es-E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0%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los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cientes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expresaron su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seo de considerar nuevamente </a:t>
              </a:r>
              <a:r>
                <a:rPr kumimoji="0" lang="es-ES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rbanibulina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s-ES" sz="1200" b="1" i="0" u="sng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la semana 8</a:t>
              </a:r>
              <a:r>
                <a:rPr kumimoji="0" lang="es-ES" sz="12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</a:t>
              </a:r>
              <a:endPara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0" name="Grupo 99">
            <a:extLst>
              <a:ext uri="{FF2B5EF4-FFF2-40B4-BE49-F238E27FC236}">
                <a16:creationId xmlns:a16="http://schemas.microsoft.com/office/drawing/2014/main" id="{0A029C8B-21A3-F932-0CE8-302C5314720A}"/>
              </a:ext>
            </a:extLst>
          </p:cNvPr>
          <p:cNvGrpSpPr/>
          <p:nvPr/>
        </p:nvGrpSpPr>
        <p:grpSpPr>
          <a:xfrm>
            <a:off x="2847922" y="2579124"/>
            <a:ext cx="3415694" cy="415498"/>
            <a:chOff x="2616923" y="3840703"/>
            <a:chExt cx="3415694" cy="415498"/>
          </a:xfrm>
          <a:noFill/>
        </p:grpSpPr>
        <p:sp>
          <p:nvSpPr>
            <p:cNvPr id="101" name="CuadroTexto 100">
              <a:extLst>
                <a:ext uri="{FF2B5EF4-FFF2-40B4-BE49-F238E27FC236}">
                  <a16:creationId xmlns:a16="http://schemas.microsoft.com/office/drawing/2014/main" id="{AF043B04-0B05-96E9-4A98-666AF21F3174}"/>
                </a:ext>
              </a:extLst>
            </p:cNvPr>
            <p:cNvSpPr txBox="1"/>
            <p:nvPr/>
          </p:nvSpPr>
          <p:spPr>
            <a:xfrm>
              <a:off x="3952801" y="3859648"/>
              <a:ext cx="798556" cy="253916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utral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CuadroTexto 101">
              <a:extLst>
                <a:ext uri="{FF2B5EF4-FFF2-40B4-BE49-F238E27FC236}">
                  <a16:creationId xmlns:a16="http://schemas.microsoft.com/office/drawing/2014/main" id="{D351DED5-7E20-009E-490F-AEB52738B814}"/>
                </a:ext>
              </a:extLst>
            </p:cNvPr>
            <p:cNvSpPr txBox="1"/>
            <p:nvPr/>
          </p:nvSpPr>
          <p:spPr>
            <a:xfrm>
              <a:off x="2616923" y="3840703"/>
              <a:ext cx="1238838" cy="415498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go/muy probable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Rectángulo 102">
              <a:extLst>
                <a:ext uri="{FF2B5EF4-FFF2-40B4-BE49-F238E27FC236}">
                  <a16:creationId xmlns:a16="http://schemas.microsoft.com/office/drawing/2014/main" id="{928868F1-EF7C-0E38-A1E5-5BE074169DA1}"/>
                </a:ext>
              </a:extLst>
            </p:cNvPr>
            <p:cNvSpPr/>
            <p:nvPr/>
          </p:nvSpPr>
          <p:spPr>
            <a:xfrm>
              <a:off x="4815742" y="3844016"/>
              <a:ext cx="1216875" cy="3326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y/algo improbable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4" name="Rectángulo 103">
            <a:extLst>
              <a:ext uri="{FF2B5EF4-FFF2-40B4-BE49-F238E27FC236}">
                <a16:creationId xmlns:a16="http://schemas.microsoft.com/office/drawing/2014/main" id="{225FD18F-4F1A-368E-75C5-ED3B039B60D7}"/>
              </a:ext>
            </a:extLst>
          </p:cNvPr>
          <p:cNvSpPr/>
          <p:nvPr/>
        </p:nvSpPr>
        <p:spPr>
          <a:xfrm>
            <a:off x="4845290" y="1101589"/>
            <a:ext cx="487682" cy="2410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Rectángulo 104">
            <a:extLst>
              <a:ext uri="{FF2B5EF4-FFF2-40B4-BE49-F238E27FC236}">
                <a16:creationId xmlns:a16="http://schemas.microsoft.com/office/drawing/2014/main" id="{65D4A734-7AD1-5E72-53B1-7D9546E51FAC}"/>
              </a:ext>
            </a:extLst>
          </p:cNvPr>
          <p:cNvSpPr/>
          <p:nvPr/>
        </p:nvSpPr>
        <p:spPr>
          <a:xfrm>
            <a:off x="5624411" y="1098046"/>
            <a:ext cx="487682" cy="2410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CuadroTexto 105">
            <a:extLst>
              <a:ext uri="{FF2B5EF4-FFF2-40B4-BE49-F238E27FC236}">
                <a16:creationId xmlns:a16="http://schemas.microsoft.com/office/drawing/2014/main" id="{DF06696C-0B77-3C66-89AE-76057DF91688}"/>
              </a:ext>
            </a:extLst>
          </p:cNvPr>
          <p:cNvSpPr txBox="1"/>
          <p:nvPr/>
        </p:nvSpPr>
        <p:spPr>
          <a:xfrm>
            <a:off x="4733901" y="1153757"/>
            <a:ext cx="7722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ínico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CuadroTexto 106">
            <a:extLst>
              <a:ext uri="{FF2B5EF4-FFF2-40B4-BE49-F238E27FC236}">
                <a16:creationId xmlns:a16="http://schemas.microsoft.com/office/drawing/2014/main" id="{AAAACC8A-DB14-EC5D-2EC7-AD62297C7047}"/>
              </a:ext>
            </a:extLst>
          </p:cNvPr>
          <p:cNvSpPr txBox="1"/>
          <p:nvPr/>
        </p:nvSpPr>
        <p:spPr>
          <a:xfrm>
            <a:off x="5496439" y="1160183"/>
            <a:ext cx="86740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Rectángulo 107">
            <a:extLst>
              <a:ext uri="{FF2B5EF4-FFF2-40B4-BE49-F238E27FC236}">
                <a16:creationId xmlns:a16="http://schemas.microsoft.com/office/drawing/2014/main" id="{32A29DC7-03C5-FBD6-ED9E-EC0C318FC1D9}"/>
              </a:ext>
            </a:extLst>
          </p:cNvPr>
          <p:cNvSpPr/>
          <p:nvPr/>
        </p:nvSpPr>
        <p:spPr>
          <a:xfrm>
            <a:off x="6467706" y="4806177"/>
            <a:ext cx="602167" cy="10721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CuadroTexto 108">
            <a:extLst>
              <a:ext uri="{FF2B5EF4-FFF2-40B4-BE49-F238E27FC236}">
                <a16:creationId xmlns:a16="http://schemas.microsoft.com/office/drawing/2014/main" id="{7520D83F-E4EF-1DDC-8CB7-FA5DAE858428}"/>
              </a:ext>
            </a:extLst>
          </p:cNvPr>
          <p:cNvSpPr txBox="1"/>
          <p:nvPr/>
        </p:nvSpPr>
        <p:spPr>
          <a:xfrm>
            <a:off x="6408246" y="4740337"/>
            <a:ext cx="66162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go/muy probable</a:t>
            </a: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CuadroTexto 109">
            <a:extLst>
              <a:ext uri="{FF2B5EF4-FFF2-40B4-BE49-F238E27FC236}">
                <a16:creationId xmlns:a16="http://schemas.microsoft.com/office/drawing/2014/main" id="{FA553366-FD02-500B-125F-DED0081100F3}"/>
              </a:ext>
            </a:extLst>
          </p:cNvPr>
          <p:cNvSpPr txBox="1"/>
          <p:nvPr/>
        </p:nvSpPr>
        <p:spPr>
          <a:xfrm>
            <a:off x="6252479" y="5073103"/>
            <a:ext cx="844462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tral</a:t>
            </a: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Rectángulo 110">
            <a:extLst>
              <a:ext uri="{FF2B5EF4-FFF2-40B4-BE49-F238E27FC236}">
                <a16:creationId xmlns:a16="http://schemas.microsoft.com/office/drawing/2014/main" id="{66DA0993-EB35-0F52-677D-9E61DD9DECD6}"/>
              </a:ext>
            </a:extLst>
          </p:cNvPr>
          <p:cNvSpPr/>
          <p:nvPr/>
        </p:nvSpPr>
        <p:spPr>
          <a:xfrm>
            <a:off x="6408246" y="5348234"/>
            <a:ext cx="823376" cy="5790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y/algo improbable</a:t>
            </a: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CuadroTexto 116">
            <a:extLst>
              <a:ext uri="{FF2B5EF4-FFF2-40B4-BE49-F238E27FC236}">
                <a16:creationId xmlns:a16="http://schemas.microsoft.com/office/drawing/2014/main" id="{4AA84D79-379F-EEA4-F57F-7C91E9171F41}"/>
              </a:ext>
            </a:extLst>
          </p:cNvPr>
          <p:cNvSpPr txBox="1"/>
          <p:nvPr/>
        </p:nvSpPr>
        <p:spPr>
          <a:xfrm>
            <a:off x="1489083" y="764662"/>
            <a:ext cx="1551251" cy="307777"/>
          </a:xfrm>
          <a:prstGeom prst="rect">
            <a:avLst/>
          </a:prstGeom>
          <a:solidFill>
            <a:srgbClr val="002855">
              <a:lumMod val="10000"/>
              <a:lumOff val="9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Estudio PROAK</a:t>
            </a:r>
            <a:r>
              <a:rPr kumimoji="0" lang="es-ES_tradnl" sz="1400" b="0" i="0" u="none" strike="noStrike" kern="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1</a:t>
            </a:r>
            <a:endParaRPr kumimoji="0" lang="es-ES" sz="1400" b="0" i="0" u="none" strike="noStrike" kern="0" cap="none" spc="0" normalizeH="0" baseline="3000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8" name="CuadroTexto 117">
            <a:extLst>
              <a:ext uri="{FF2B5EF4-FFF2-40B4-BE49-F238E27FC236}">
                <a16:creationId xmlns:a16="http://schemas.microsoft.com/office/drawing/2014/main" id="{D2DE3A22-BA82-1278-F1AB-3D99204E4185}"/>
              </a:ext>
            </a:extLst>
          </p:cNvPr>
          <p:cNvSpPr txBox="1"/>
          <p:nvPr/>
        </p:nvSpPr>
        <p:spPr>
          <a:xfrm>
            <a:off x="1560132" y="4294132"/>
            <a:ext cx="1693407" cy="307777"/>
          </a:xfrm>
          <a:prstGeom prst="rect">
            <a:avLst/>
          </a:prstGeom>
          <a:solidFill>
            <a:srgbClr val="002855">
              <a:lumMod val="10000"/>
              <a:lumOff val="9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Estudio TirbaSkin</a:t>
            </a:r>
            <a:r>
              <a:rPr kumimoji="0" lang="es-ES_tradnl" sz="1400" b="0" i="0" u="none" strike="noStrike" kern="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4</a:t>
            </a:r>
            <a:endParaRPr kumimoji="0" lang="es-ES" sz="1400" b="0" i="0" u="none" strike="noStrike" kern="0" cap="none" spc="0" normalizeH="0" baseline="3000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19" name="CuadroTexto 118">
            <a:extLst>
              <a:ext uri="{FF2B5EF4-FFF2-40B4-BE49-F238E27FC236}">
                <a16:creationId xmlns:a16="http://schemas.microsoft.com/office/drawing/2014/main" id="{9AEE4053-8E8D-9586-8B25-0066AA424911}"/>
              </a:ext>
            </a:extLst>
          </p:cNvPr>
          <p:cNvSpPr txBox="1"/>
          <p:nvPr/>
        </p:nvSpPr>
        <p:spPr>
          <a:xfrm>
            <a:off x="1560132" y="3251286"/>
            <a:ext cx="1287790" cy="307777"/>
          </a:xfrm>
          <a:prstGeom prst="rect">
            <a:avLst/>
          </a:prstGeom>
          <a:solidFill>
            <a:srgbClr val="002855">
              <a:lumMod val="10000"/>
              <a:lumOff val="9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Estudio KLIR</a:t>
            </a:r>
            <a:r>
              <a:rPr kumimoji="0" lang="es-ES_tradnl" sz="1400" b="0" i="0" u="none" strike="noStrike" kern="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3</a:t>
            </a:r>
            <a:endParaRPr kumimoji="0" lang="es-ES" sz="1400" b="0" i="0" u="none" strike="noStrike" kern="0" cap="none" spc="0" normalizeH="0" baseline="3000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20" name="CuadroTexto 119">
            <a:extLst>
              <a:ext uri="{FF2B5EF4-FFF2-40B4-BE49-F238E27FC236}">
                <a16:creationId xmlns:a16="http://schemas.microsoft.com/office/drawing/2014/main" id="{3BDA3DAA-57F6-A95C-00CD-AC7BFE3086B6}"/>
              </a:ext>
            </a:extLst>
          </p:cNvPr>
          <p:cNvSpPr txBox="1"/>
          <p:nvPr/>
        </p:nvSpPr>
        <p:spPr>
          <a:xfrm>
            <a:off x="1784144" y="4834717"/>
            <a:ext cx="74501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línicos</a:t>
            </a:r>
            <a:endParaRPr kumimoji="0" lang="es-ES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CuadroTexto 120">
            <a:extLst>
              <a:ext uri="{FF2B5EF4-FFF2-40B4-BE49-F238E27FC236}">
                <a16:creationId xmlns:a16="http://schemas.microsoft.com/office/drawing/2014/main" id="{925E967D-7432-361C-E158-A86E40BEE695}"/>
              </a:ext>
            </a:extLst>
          </p:cNvPr>
          <p:cNvSpPr txBox="1"/>
          <p:nvPr/>
        </p:nvSpPr>
        <p:spPr>
          <a:xfrm>
            <a:off x="1713106" y="5301044"/>
            <a:ext cx="816056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Pacientes</a:t>
            </a:r>
            <a:endParaRPr kumimoji="0" lang="es-ES" sz="1050" b="0" i="0" u="none" strike="noStrike" kern="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99" name="Rectángulo 98">
            <a:extLst>
              <a:ext uri="{FF2B5EF4-FFF2-40B4-BE49-F238E27FC236}">
                <a16:creationId xmlns:a16="http://schemas.microsoft.com/office/drawing/2014/main" id="{F5535712-DD9D-0FE4-0949-54CFB610EA75}"/>
              </a:ext>
            </a:extLst>
          </p:cNvPr>
          <p:cNvSpPr/>
          <p:nvPr/>
        </p:nvSpPr>
        <p:spPr>
          <a:xfrm>
            <a:off x="2475571" y="4783873"/>
            <a:ext cx="3088887" cy="81438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091440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32">
            <a:extLst>
              <a:ext uri="{FF2B5EF4-FFF2-40B4-BE49-F238E27FC236}">
                <a16:creationId xmlns:a16="http://schemas.microsoft.com/office/drawing/2014/main" id="{E81674A8-A4C9-B547-3F43-7728AC139E9C}"/>
              </a:ext>
            </a:extLst>
          </p:cNvPr>
          <p:cNvSpPr txBox="1"/>
          <p:nvPr/>
        </p:nvSpPr>
        <p:spPr>
          <a:xfrm>
            <a:off x="1996351" y="6212859"/>
            <a:ext cx="81545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PQ, Expert Panel Questionnaire </a:t>
            </a:r>
          </a:p>
          <a:p>
            <a:pPr marL="0" marR="0" lvl="0" indent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</a:t>
            </a:r>
            <a:r>
              <a:rPr kumimoji="0" lang="fr-FR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apted from: 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lesinger, T et al. (2023). SKIN The Journal of </a:t>
            </a:r>
            <a:r>
              <a:rPr kumimoji="0" lang="fr-FR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taneous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ine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 7(3), 771-787.</a:t>
            </a:r>
            <a:r>
              <a:rPr kumimoji="0" lang="da-DK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_tradnl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lesinger T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KIN 2023, 7(6), s262 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laberte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Y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t al.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Marcador de texto 1">
            <a:extLst>
              <a:ext uri="{FF2B5EF4-FFF2-40B4-BE49-F238E27FC236}">
                <a16:creationId xmlns:a16="http://schemas.microsoft.com/office/drawing/2014/main" id="{BA92C61F-1664-BE92-11E5-FA39C2F485CA}"/>
              </a:ext>
            </a:extLst>
          </p:cNvPr>
          <p:cNvSpPr txBox="1">
            <a:spLocks/>
          </p:cNvSpPr>
          <p:nvPr/>
        </p:nvSpPr>
        <p:spPr>
          <a:xfrm>
            <a:off x="79642" y="71385"/>
            <a:ext cx="9559273" cy="385428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8C93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EPQ –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Probabilidad de considerar de nuevo tirbanibulina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09E2B62E-099C-FF89-376D-A43A62C04C32}"/>
              </a:ext>
            </a:extLst>
          </p:cNvPr>
          <p:cNvSpPr txBox="1"/>
          <p:nvPr/>
        </p:nvSpPr>
        <p:spPr>
          <a:xfrm>
            <a:off x="5463586" y="679453"/>
            <a:ext cx="130837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ana 24</a:t>
            </a:r>
            <a:r>
              <a:rPr kumimoji="0" lang="en-GB" sz="1600" b="0" i="0" u="none" strike="noStrike" kern="1200" cap="none" spc="0" normalizeH="0" baseline="3000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grpSp>
        <p:nvGrpSpPr>
          <p:cNvPr id="51" name="Grupo 50">
            <a:extLst>
              <a:ext uri="{FF2B5EF4-FFF2-40B4-BE49-F238E27FC236}">
                <a16:creationId xmlns:a16="http://schemas.microsoft.com/office/drawing/2014/main" id="{3994F257-A302-CA3A-E513-1590912A4C52}"/>
              </a:ext>
            </a:extLst>
          </p:cNvPr>
          <p:cNvGrpSpPr/>
          <p:nvPr/>
        </p:nvGrpSpPr>
        <p:grpSpPr>
          <a:xfrm>
            <a:off x="3445458" y="1200622"/>
            <a:ext cx="5474254" cy="2874804"/>
            <a:chOff x="7525219" y="1235969"/>
            <a:chExt cx="3812244" cy="1804165"/>
          </a:xfrm>
        </p:grpSpPr>
        <p:grpSp>
          <p:nvGrpSpPr>
            <p:cNvPr id="52" name="Grupo 51">
              <a:extLst>
                <a:ext uri="{FF2B5EF4-FFF2-40B4-BE49-F238E27FC236}">
                  <a16:creationId xmlns:a16="http://schemas.microsoft.com/office/drawing/2014/main" id="{522EE75A-662C-E099-3C0C-537BE225A276}"/>
                </a:ext>
              </a:extLst>
            </p:cNvPr>
            <p:cNvGrpSpPr/>
            <p:nvPr/>
          </p:nvGrpSpPr>
          <p:grpSpPr>
            <a:xfrm>
              <a:off x="7525219" y="1235969"/>
              <a:ext cx="3812244" cy="1804165"/>
              <a:chOff x="4690678" y="1245170"/>
              <a:chExt cx="4071918" cy="2714612"/>
            </a:xfrm>
          </p:grpSpPr>
          <p:graphicFrame>
            <p:nvGraphicFramePr>
              <p:cNvPr id="55" name="Chart 14">
                <a:extLst>
                  <a:ext uri="{FF2B5EF4-FFF2-40B4-BE49-F238E27FC236}">
                    <a16:creationId xmlns:a16="http://schemas.microsoft.com/office/drawing/2014/main" id="{8A205834-A313-BF3D-CEA2-5164B78A2D7A}"/>
                  </a:ext>
                </a:extLst>
              </p:cNvPr>
              <p:cNvGraphicFramePr/>
              <p:nvPr/>
            </p:nvGraphicFramePr>
            <p:xfrm>
              <a:off x="4690678" y="1245170"/>
              <a:ext cx="4071918" cy="271461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56" name="TextBox 95">
                <a:extLst>
                  <a:ext uri="{FF2B5EF4-FFF2-40B4-BE49-F238E27FC236}">
                    <a16:creationId xmlns:a16="http://schemas.microsoft.com/office/drawing/2014/main" id="{2810640C-60EE-65A9-25A9-A3E98E2FFA19}"/>
                  </a:ext>
                </a:extLst>
              </p:cNvPr>
              <p:cNvSpPr txBox="1"/>
              <p:nvPr/>
            </p:nvSpPr>
            <p:spPr>
              <a:xfrm>
                <a:off x="4984804" y="3715006"/>
                <a:ext cx="650893" cy="1924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122004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=278</a:t>
                </a:r>
              </a:p>
            </p:txBody>
          </p:sp>
        </p:grpSp>
        <p:sp>
          <p:nvSpPr>
            <p:cNvPr id="53" name="TextBox 25">
              <a:extLst>
                <a:ext uri="{FF2B5EF4-FFF2-40B4-BE49-F238E27FC236}">
                  <a16:creationId xmlns:a16="http://schemas.microsoft.com/office/drawing/2014/main" id="{2851AFEA-7726-F123-BAB4-536F38314DAC}"/>
                </a:ext>
              </a:extLst>
            </p:cNvPr>
            <p:cNvSpPr txBox="1"/>
            <p:nvPr/>
          </p:nvSpPr>
          <p:spPr>
            <a:xfrm rot="16200000">
              <a:off x="7101885" y="1988719"/>
              <a:ext cx="1449780" cy="3000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kumimoji="0" lang="en-US" sz="11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porción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1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cientes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en-US" sz="11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ínicos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 la </a:t>
              </a:r>
              <a:r>
                <a:rPr kumimoji="0" lang="en-US" sz="11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mana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24</a:t>
              </a:r>
            </a:p>
          </p:txBody>
        </p:sp>
        <p:sp>
          <p:nvSpPr>
            <p:cNvPr id="54" name="Rectángulo 53">
              <a:extLst>
                <a:ext uri="{FF2B5EF4-FFF2-40B4-BE49-F238E27FC236}">
                  <a16:creationId xmlns:a16="http://schemas.microsoft.com/office/drawing/2014/main" id="{CE7588A5-0E09-004F-08A6-360B9ECBDF85}"/>
                </a:ext>
              </a:extLst>
            </p:cNvPr>
            <p:cNvSpPr/>
            <p:nvPr/>
          </p:nvSpPr>
          <p:spPr>
            <a:xfrm>
              <a:off x="8224812" y="1526771"/>
              <a:ext cx="1026367" cy="1477142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7" name="Grupo 56">
            <a:extLst>
              <a:ext uri="{FF2B5EF4-FFF2-40B4-BE49-F238E27FC236}">
                <a16:creationId xmlns:a16="http://schemas.microsoft.com/office/drawing/2014/main" id="{9AAD208F-D39E-B323-7521-F58AFD7E6261}"/>
              </a:ext>
            </a:extLst>
          </p:cNvPr>
          <p:cNvGrpSpPr/>
          <p:nvPr/>
        </p:nvGrpSpPr>
        <p:grpSpPr>
          <a:xfrm>
            <a:off x="4150737" y="4288789"/>
            <a:ext cx="4768975" cy="1266492"/>
            <a:chOff x="6223034" y="3721826"/>
            <a:chExt cx="5494438" cy="1572178"/>
          </a:xfrm>
        </p:grpSpPr>
        <p:sp>
          <p:nvSpPr>
            <p:cNvPr id="58" name="Rectángulo 57">
              <a:extLst>
                <a:ext uri="{FF2B5EF4-FFF2-40B4-BE49-F238E27FC236}">
                  <a16:creationId xmlns:a16="http://schemas.microsoft.com/office/drawing/2014/main" id="{966A545C-85EC-AC95-C90B-CB716DE84E93}"/>
                </a:ext>
              </a:extLst>
            </p:cNvPr>
            <p:cNvSpPr/>
            <p:nvPr/>
          </p:nvSpPr>
          <p:spPr>
            <a:xfrm>
              <a:off x="6223034" y="3721826"/>
              <a:ext cx="5494438" cy="1572178"/>
            </a:xfrm>
            <a:prstGeom prst="rect">
              <a:avLst/>
            </a:prstGeom>
            <a:solidFill>
              <a:srgbClr val="FFCCCC">
                <a:alpha val="36863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CuadroTexto 58">
              <a:extLst>
                <a:ext uri="{FF2B5EF4-FFF2-40B4-BE49-F238E27FC236}">
                  <a16:creationId xmlns:a16="http://schemas.microsoft.com/office/drawing/2014/main" id="{2F8697A7-CC38-9639-F1C4-E11610869377}"/>
                </a:ext>
              </a:extLst>
            </p:cNvPr>
            <p:cNvSpPr txBox="1"/>
            <p:nvPr/>
          </p:nvSpPr>
          <p:spPr>
            <a:xfrm>
              <a:off x="6393154" y="3852058"/>
              <a:ext cx="5137779" cy="11762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el estudio PROAK, su </a:t>
              </a:r>
              <a:r>
                <a:rPr kumimoji="0" lang="es-ES" sz="14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seo de considerar nuevamente </a:t>
              </a:r>
              <a:r>
                <a:rPr kumimoji="0" lang="es-ES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rbanibulina</a:t>
              </a:r>
              <a:r>
                <a:rPr kumimoji="0" lang="es-ES" sz="14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s-ES" sz="14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 mantuvo </a:t>
              </a: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más de un </a:t>
              </a:r>
              <a:r>
                <a:rPr kumimoji="0" lang="es-ES" sz="20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7% </a:t>
              </a:r>
              <a:r>
                <a:rPr kumimoji="0" lang="es-ES" sz="1400" b="1" i="0" u="sng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sta la semana 24</a:t>
              </a:r>
              <a:r>
                <a:rPr kumimoji="0" lang="es-ES" sz="1400" b="1" i="0" u="none" strike="noStrike" kern="120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s-ES" sz="14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</a:t>
              </a:r>
              <a:endPara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0" name="Rectángulo 59">
            <a:extLst>
              <a:ext uri="{FF2B5EF4-FFF2-40B4-BE49-F238E27FC236}">
                <a16:creationId xmlns:a16="http://schemas.microsoft.com/office/drawing/2014/main" id="{D96D9CAF-8E2F-62B8-0BF5-649AB2FD7436}"/>
              </a:ext>
            </a:extLst>
          </p:cNvPr>
          <p:cNvSpPr/>
          <p:nvPr/>
        </p:nvSpPr>
        <p:spPr>
          <a:xfrm>
            <a:off x="2650672" y="1018007"/>
            <a:ext cx="6890656" cy="4753749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2" name="Grupo 61">
            <a:extLst>
              <a:ext uri="{FF2B5EF4-FFF2-40B4-BE49-F238E27FC236}">
                <a16:creationId xmlns:a16="http://schemas.microsoft.com/office/drawing/2014/main" id="{C72DC567-3590-5D4E-81BF-3A8E3D4F3D89}"/>
              </a:ext>
            </a:extLst>
          </p:cNvPr>
          <p:cNvGrpSpPr/>
          <p:nvPr/>
        </p:nvGrpSpPr>
        <p:grpSpPr>
          <a:xfrm>
            <a:off x="4458101" y="3716564"/>
            <a:ext cx="4465104" cy="465544"/>
            <a:chOff x="2487829" y="3840703"/>
            <a:chExt cx="3692327" cy="430887"/>
          </a:xfrm>
          <a:noFill/>
        </p:grpSpPr>
        <p:sp>
          <p:nvSpPr>
            <p:cNvPr id="63" name="CuadroTexto 62">
              <a:extLst>
                <a:ext uri="{FF2B5EF4-FFF2-40B4-BE49-F238E27FC236}">
                  <a16:creationId xmlns:a16="http://schemas.microsoft.com/office/drawing/2014/main" id="{1988D230-7ACA-AF39-DA51-BDFAAA8A3B99}"/>
                </a:ext>
              </a:extLst>
            </p:cNvPr>
            <p:cNvSpPr txBox="1"/>
            <p:nvPr/>
          </p:nvSpPr>
          <p:spPr>
            <a:xfrm>
              <a:off x="3952801" y="3859648"/>
              <a:ext cx="798556" cy="26161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1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utral</a:t>
              </a:r>
              <a:endPara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CuadroTexto 63">
              <a:extLst>
                <a:ext uri="{FF2B5EF4-FFF2-40B4-BE49-F238E27FC236}">
                  <a16:creationId xmlns:a16="http://schemas.microsoft.com/office/drawing/2014/main" id="{95851E3B-5D08-574B-0665-92E51A15A39D}"/>
                </a:ext>
              </a:extLst>
            </p:cNvPr>
            <p:cNvSpPr txBox="1"/>
            <p:nvPr/>
          </p:nvSpPr>
          <p:spPr>
            <a:xfrm>
              <a:off x="2487829" y="3840703"/>
              <a:ext cx="1238838" cy="430887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1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go/muy probable</a:t>
              </a:r>
              <a:endPara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Rectángulo 64">
              <a:extLst>
                <a:ext uri="{FF2B5EF4-FFF2-40B4-BE49-F238E27FC236}">
                  <a16:creationId xmlns:a16="http://schemas.microsoft.com/office/drawing/2014/main" id="{A2EC6BFD-CE37-FB36-A021-0782800554C0}"/>
                </a:ext>
              </a:extLst>
            </p:cNvPr>
            <p:cNvSpPr/>
            <p:nvPr/>
          </p:nvSpPr>
          <p:spPr>
            <a:xfrm>
              <a:off x="4963281" y="3844016"/>
              <a:ext cx="1216875" cy="3326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1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y/algo improbable</a:t>
              </a:r>
              <a:endPara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5" name="CuadroTexto 74">
            <a:extLst>
              <a:ext uri="{FF2B5EF4-FFF2-40B4-BE49-F238E27FC236}">
                <a16:creationId xmlns:a16="http://schemas.microsoft.com/office/drawing/2014/main" id="{AB6D4DDB-0431-19C0-F49C-F488F637CBAA}"/>
              </a:ext>
            </a:extLst>
          </p:cNvPr>
          <p:cNvSpPr txBox="1"/>
          <p:nvPr/>
        </p:nvSpPr>
        <p:spPr>
          <a:xfrm>
            <a:off x="2772251" y="1142854"/>
            <a:ext cx="1756208" cy="307777"/>
          </a:xfrm>
          <a:prstGeom prst="rect">
            <a:avLst/>
          </a:prstGeom>
          <a:solidFill>
            <a:srgbClr val="002855">
              <a:lumMod val="10000"/>
              <a:lumOff val="9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Estudio PROAK</a:t>
            </a:r>
            <a:r>
              <a:rPr kumimoji="0" lang="es-ES_tradnl" sz="1400" b="0" i="0" u="none" strike="noStrike" kern="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1,2</a:t>
            </a:r>
            <a:endParaRPr kumimoji="0" lang="es-ES" sz="1400" b="0" i="0" u="none" strike="noStrike" kern="0" cap="none" spc="0" normalizeH="0" baseline="3000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76" name="Rectángulo 75">
            <a:extLst>
              <a:ext uri="{FF2B5EF4-FFF2-40B4-BE49-F238E27FC236}">
                <a16:creationId xmlns:a16="http://schemas.microsoft.com/office/drawing/2014/main" id="{706E3016-7B49-FF69-C7AE-3DB4E198EF20}"/>
              </a:ext>
            </a:extLst>
          </p:cNvPr>
          <p:cNvSpPr/>
          <p:nvPr/>
        </p:nvSpPr>
        <p:spPr>
          <a:xfrm>
            <a:off x="7251123" y="1444205"/>
            <a:ext cx="599334" cy="128117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Rectángulo 76">
            <a:extLst>
              <a:ext uri="{FF2B5EF4-FFF2-40B4-BE49-F238E27FC236}">
                <a16:creationId xmlns:a16="http://schemas.microsoft.com/office/drawing/2014/main" id="{03F38D78-5A0A-C109-CE7C-17608EF43726}"/>
              </a:ext>
            </a:extLst>
          </p:cNvPr>
          <p:cNvSpPr/>
          <p:nvPr/>
        </p:nvSpPr>
        <p:spPr>
          <a:xfrm>
            <a:off x="8198575" y="1456168"/>
            <a:ext cx="599334" cy="128117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21EA7862-01F6-69A3-15E1-F560E200ECCD}"/>
              </a:ext>
            </a:extLst>
          </p:cNvPr>
          <p:cNvSpPr txBox="1"/>
          <p:nvPr/>
        </p:nvSpPr>
        <p:spPr>
          <a:xfrm>
            <a:off x="7163505" y="1380569"/>
            <a:ext cx="7722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Clínicos</a:t>
            </a: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5A303C77-1FB6-02C1-0E76-EA36F900472A}"/>
              </a:ext>
            </a:extLst>
          </p:cNvPr>
          <p:cNvSpPr txBox="1"/>
          <p:nvPr/>
        </p:nvSpPr>
        <p:spPr>
          <a:xfrm>
            <a:off x="8104461" y="1386995"/>
            <a:ext cx="86740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Pacientes</a:t>
            </a:r>
            <a:endParaRPr kumimoji="0" lang="es-ES" sz="1200" b="0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357166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51E80F6-C5D1-3618-8889-B353C6C5B0D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0464" y="229254"/>
            <a:ext cx="8675401" cy="843114"/>
          </a:xfrm>
        </p:spPr>
        <p:txBody>
          <a:bodyPr>
            <a:normAutofit lnSpcReduction="10000"/>
          </a:bodyPr>
          <a:lstStyle/>
          <a:p>
            <a:r>
              <a:rPr lang="es-ES"/>
              <a:t>¿Creéis que hay que tratar las queratosis “incipientes”? ¿o esperar a que hayan progresado?</a:t>
            </a:r>
          </a:p>
          <a:p>
            <a:endParaRPr lang="es-ES"/>
          </a:p>
        </p:txBody>
      </p:sp>
      <p:sp>
        <p:nvSpPr>
          <p:cNvPr id="24" name="Marcador de texto 2">
            <a:extLst>
              <a:ext uri="{FF2B5EF4-FFF2-40B4-BE49-F238E27FC236}">
                <a16:creationId xmlns:a16="http://schemas.microsoft.com/office/drawing/2014/main" id="{00BEEEE6-2357-BE01-31A4-6B35CB900A3F}"/>
              </a:ext>
            </a:extLst>
          </p:cNvPr>
          <p:cNvSpPr txBox="1">
            <a:spLocks/>
          </p:cNvSpPr>
          <p:nvPr/>
        </p:nvSpPr>
        <p:spPr>
          <a:xfrm>
            <a:off x="940226" y="1364110"/>
            <a:ext cx="9695118" cy="42386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46057" marR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 sz="15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1pPr>
            <a:lvl2pPr marL="627047" indent="-133347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6057" marR="0" lvl="0" indent="-246057" algn="just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chos dermatólogos tienen firmemente arraigada la idea de que la progresión de la QA a CEC sólo se produce tras una transformación casi completa de la epidermis (es decir, siguiendo la "vía clásica" de QA I a QA II a QA III)</a:t>
            </a:r>
            <a:r>
              <a:rPr kumimoji="0" lang="es-ES" sz="1500" b="1" i="0" u="none" strike="noStrike" kern="1200" cap="none" spc="0" normalizeH="0" baseline="3000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</a:t>
            </a:r>
            <a:r>
              <a:rPr kumimoji="0" lang="es-ES" sz="15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 ello, </a:t>
            </a:r>
            <a:r>
              <a:rPr kumimoji="0" lang="es-ES" sz="1500" b="0" i="0" u="sng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dicionalmente, las lesiones de QA I se han considerado de "bajo riesgo". </a:t>
            </a:r>
            <a:endParaRPr kumimoji="0" lang="es-ES" sz="15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None/>
              <a:tabLst/>
              <a:defRPr/>
            </a:pPr>
            <a:endParaRPr kumimoji="0" lang="es-ES" sz="15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46057" marR="0" lvl="0" indent="-246057" algn="just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endParaRPr kumimoji="0" lang="es-ES" sz="15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None/>
              <a:tabLst/>
              <a:defRPr/>
            </a:pPr>
            <a:endParaRPr kumimoji="0" lang="es-ES" sz="15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46057" marR="0" lvl="0" indent="-246057" algn="just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r>
              <a:rPr kumimoji="0" lang="es-ES" sz="15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 embargo, en un estudio reciente se ha demostrado que</a:t>
            </a: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as QA con células atípicas</a:t>
            </a:r>
            <a:r>
              <a:rPr kumimoji="0" lang="es-ES" sz="15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sentes únicamente </a:t>
            </a:r>
            <a:r>
              <a:rPr kumimoji="0" lang="es-ES" sz="15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 las capas basales </a:t>
            </a:r>
            <a:r>
              <a:rPr kumimoji="0" lang="es-ES" sz="15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QA I) </a:t>
            </a: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n los precursores más frecuentes de los </a:t>
            </a:r>
            <a:r>
              <a:rPr kumimoji="0" lang="es-ES" sz="1500" b="1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Ei</a:t>
            </a:r>
            <a:r>
              <a:rPr kumimoji="0" lang="es-ES" sz="15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 piel, </a:t>
            </a:r>
            <a:r>
              <a:rPr kumimoji="0" lang="es-ES" sz="15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e surgen a través de la "vía diferenciada“</a:t>
            </a:r>
            <a:r>
              <a:rPr kumimoji="0" lang="es-ES" sz="1600" b="1" i="0" u="none" strike="noStrike" kern="1200" cap="none" spc="0" normalizeH="0" baseline="3000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es-ES" sz="15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46057" marR="0" lvl="0" indent="-246057" algn="just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2"/>
              </a:buBlip>
              <a:tabLst/>
              <a:defRPr/>
            </a:pPr>
            <a:endParaRPr kumimoji="0" lang="es-ES" sz="15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2D8C23C0-65C4-827B-69B1-38F24F7768BE}"/>
              </a:ext>
            </a:extLst>
          </p:cNvPr>
          <p:cNvGrpSpPr/>
          <p:nvPr/>
        </p:nvGrpSpPr>
        <p:grpSpPr>
          <a:xfrm>
            <a:off x="2701175" y="2316767"/>
            <a:ext cx="5397049" cy="1400333"/>
            <a:chOff x="587191" y="1419067"/>
            <a:chExt cx="10439346" cy="2553626"/>
          </a:xfrm>
        </p:grpSpPr>
        <p:pic>
          <p:nvPicPr>
            <p:cNvPr id="26" name="Picture 1867">
              <a:extLst>
                <a:ext uri="{FF2B5EF4-FFF2-40B4-BE49-F238E27FC236}">
                  <a16:creationId xmlns:a16="http://schemas.microsoft.com/office/drawing/2014/main" id="{E67C2423-B67B-71A1-13C8-991252D870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7890"/>
            <a:stretch/>
          </p:blipFill>
          <p:spPr>
            <a:xfrm>
              <a:off x="3187772" y="1640485"/>
              <a:ext cx="1727146" cy="2075907"/>
            </a:xfrm>
            <a:prstGeom prst="rect">
              <a:avLst/>
            </a:prstGeom>
          </p:spPr>
        </p:pic>
        <p:sp>
          <p:nvSpPr>
            <p:cNvPr id="27" name="TextBox 30">
              <a:extLst>
                <a:ext uri="{FF2B5EF4-FFF2-40B4-BE49-F238E27FC236}">
                  <a16:creationId xmlns:a16="http://schemas.microsoft.com/office/drawing/2014/main" id="{A5C759F6-E010-90E5-D3A0-3318A1F203D9}"/>
                </a:ext>
              </a:extLst>
            </p:cNvPr>
            <p:cNvSpPr txBox="1"/>
            <p:nvPr/>
          </p:nvSpPr>
          <p:spPr>
            <a:xfrm>
              <a:off x="3705854" y="1419522"/>
              <a:ext cx="457095" cy="330072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none" lIns="72000" tIns="72000" rIns="72000" bIns="7200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QA I</a:t>
              </a:r>
            </a:p>
          </p:txBody>
        </p:sp>
        <p:sp>
          <p:nvSpPr>
            <p:cNvPr id="28" name="TextBox 31">
              <a:extLst>
                <a:ext uri="{FF2B5EF4-FFF2-40B4-BE49-F238E27FC236}">
                  <a16:creationId xmlns:a16="http://schemas.microsoft.com/office/drawing/2014/main" id="{49708119-06A2-247E-4201-CA23B42DE71B}"/>
                </a:ext>
              </a:extLst>
            </p:cNvPr>
            <p:cNvSpPr txBox="1"/>
            <p:nvPr/>
          </p:nvSpPr>
          <p:spPr>
            <a:xfrm>
              <a:off x="5678172" y="1419067"/>
              <a:ext cx="500376" cy="330072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none" lIns="72000" tIns="72000" rIns="72000" bIns="7200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QA II</a:t>
              </a:r>
            </a:p>
          </p:txBody>
        </p:sp>
        <p:sp>
          <p:nvSpPr>
            <p:cNvPr id="29" name="TextBox 32">
              <a:extLst>
                <a:ext uri="{FF2B5EF4-FFF2-40B4-BE49-F238E27FC236}">
                  <a16:creationId xmlns:a16="http://schemas.microsoft.com/office/drawing/2014/main" id="{284CE224-59C5-50FE-9F71-21365515ECB3}"/>
                </a:ext>
              </a:extLst>
            </p:cNvPr>
            <p:cNvSpPr txBox="1"/>
            <p:nvPr/>
          </p:nvSpPr>
          <p:spPr>
            <a:xfrm>
              <a:off x="7638776" y="1419067"/>
              <a:ext cx="543657" cy="330072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none" lIns="72000" tIns="72000" rIns="72000" bIns="7200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QA III</a:t>
              </a:r>
            </a:p>
          </p:txBody>
        </p:sp>
        <p:sp>
          <p:nvSpPr>
            <p:cNvPr id="30" name="TextBox 33">
              <a:extLst>
                <a:ext uri="{FF2B5EF4-FFF2-40B4-BE49-F238E27FC236}">
                  <a16:creationId xmlns:a16="http://schemas.microsoft.com/office/drawing/2014/main" id="{5D65F807-2249-34F3-21B7-AEA9B3926EBA}"/>
                </a:ext>
              </a:extLst>
            </p:cNvPr>
            <p:cNvSpPr txBox="1"/>
            <p:nvPr/>
          </p:nvSpPr>
          <p:spPr>
            <a:xfrm>
              <a:off x="9837652" y="1423059"/>
              <a:ext cx="512494" cy="330072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none" lIns="72000" tIns="72000" rIns="72000" bIns="7200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EIC</a:t>
              </a:r>
            </a:p>
          </p:txBody>
        </p:sp>
        <p:sp>
          <p:nvSpPr>
            <p:cNvPr id="31" name="Arrow: Right 1872">
              <a:extLst>
                <a:ext uri="{FF2B5EF4-FFF2-40B4-BE49-F238E27FC236}">
                  <a16:creationId xmlns:a16="http://schemas.microsoft.com/office/drawing/2014/main" id="{D92041D5-5BA8-2AC5-56DF-A434E1A7018C}"/>
                </a:ext>
              </a:extLst>
            </p:cNvPr>
            <p:cNvSpPr/>
            <p:nvPr/>
          </p:nvSpPr>
          <p:spPr>
            <a:xfrm>
              <a:off x="4731668" y="2766003"/>
              <a:ext cx="294156" cy="215338"/>
            </a:xfrm>
            <a:prstGeom prst="rightArrow">
              <a:avLst/>
            </a:prstGeom>
            <a:solidFill>
              <a:srgbClr val="002855"/>
            </a:solidFill>
            <a:ln w="12700" cap="flat" cmpd="sng" algn="ctr">
              <a:solidFill>
                <a:srgbClr val="00285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rrow: Right 1873">
              <a:extLst>
                <a:ext uri="{FF2B5EF4-FFF2-40B4-BE49-F238E27FC236}">
                  <a16:creationId xmlns:a16="http://schemas.microsoft.com/office/drawing/2014/main" id="{89541C86-85C3-FF1B-BD85-5744DFE34054}"/>
                </a:ext>
              </a:extLst>
            </p:cNvPr>
            <p:cNvSpPr/>
            <p:nvPr/>
          </p:nvSpPr>
          <p:spPr>
            <a:xfrm>
              <a:off x="6821012" y="2791216"/>
              <a:ext cx="294156" cy="215338"/>
            </a:xfrm>
            <a:prstGeom prst="rightArrow">
              <a:avLst/>
            </a:prstGeom>
            <a:solidFill>
              <a:srgbClr val="002855"/>
            </a:solidFill>
            <a:ln w="12700" cap="flat" cmpd="sng" algn="ctr">
              <a:solidFill>
                <a:srgbClr val="00285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Arrow: Right 1866">
              <a:extLst>
                <a:ext uri="{FF2B5EF4-FFF2-40B4-BE49-F238E27FC236}">
                  <a16:creationId xmlns:a16="http://schemas.microsoft.com/office/drawing/2014/main" id="{E74B9E8D-D3B9-6D52-AAC8-CF9B2BED19D8}"/>
                </a:ext>
              </a:extLst>
            </p:cNvPr>
            <p:cNvSpPr/>
            <p:nvPr/>
          </p:nvSpPr>
          <p:spPr>
            <a:xfrm>
              <a:off x="8877873" y="2787286"/>
              <a:ext cx="294156" cy="215338"/>
            </a:xfrm>
            <a:prstGeom prst="rightArrow">
              <a:avLst/>
            </a:prstGeom>
            <a:solidFill>
              <a:srgbClr val="002855"/>
            </a:solidFill>
            <a:ln w="12700" cap="flat" cmpd="sng" algn="ctr">
              <a:solidFill>
                <a:srgbClr val="00285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Box 1880">
              <a:extLst>
                <a:ext uri="{FF2B5EF4-FFF2-40B4-BE49-F238E27FC236}">
                  <a16:creationId xmlns:a16="http://schemas.microsoft.com/office/drawing/2014/main" id="{CB82AED5-57CF-FAA5-AEF5-9B77B7C5358D}"/>
                </a:ext>
              </a:extLst>
            </p:cNvPr>
            <p:cNvSpPr txBox="1"/>
            <p:nvPr/>
          </p:nvSpPr>
          <p:spPr>
            <a:xfrm>
              <a:off x="587191" y="2484345"/>
              <a:ext cx="2465924" cy="6848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ES" sz="1400" b="0" i="0" u="none" strike="noStrike" kern="0" cap="none" spc="0" normalizeH="0" baseline="0" noProof="0">
                  <a:ln>
                    <a:noFill/>
                  </a:ln>
                  <a:solidFill>
                    <a:srgbClr val="022A56"/>
                  </a:solidFill>
                  <a:effectLst/>
                  <a:uLnTx/>
                  <a:uFillTx/>
                  <a:cs typeface="Arial" panose="020B0604020202020204" pitchFamily="34" charset="0"/>
                </a:rPr>
                <a:t>Vía clásica</a:t>
              </a:r>
            </a:p>
          </p:txBody>
        </p:sp>
        <p:pic>
          <p:nvPicPr>
            <p:cNvPr id="35" name="Picture 1883">
              <a:extLst>
                <a:ext uri="{FF2B5EF4-FFF2-40B4-BE49-F238E27FC236}">
                  <a16:creationId xmlns:a16="http://schemas.microsoft.com/office/drawing/2014/main" id="{14BB3676-6AFD-6B1C-3A04-3861C7C4DB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706" t="31943" r="48189" b="14529"/>
            <a:stretch/>
          </p:blipFill>
          <p:spPr>
            <a:xfrm>
              <a:off x="4841378" y="1495119"/>
              <a:ext cx="2299579" cy="2362955"/>
            </a:xfrm>
            <a:prstGeom prst="rect">
              <a:avLst/>
            </a:prstGeom>
          </p:spPr>
        </p:pic>
        <p:pic>
          <p:nvPicPr>
            <p:cNvPr id="36" name="Picture 1884">
              <a:extLst>
                <a:ext uri="{FF2B5EF4-FFF2-40B4-BE49-F238E27FC236}">
                  <a16:creationId xmlns:a16="http://schemas.microsoft.com/office/drawing/2014/main" id="{A324E490-5888-4B6B-D933-F1E520094D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391" t="34876" r="28504" b="10064"/>
            <a:stretch/>
          </p:blipFill>
          <p:spPr>
            <a:xfrm>
              <a:off x="6821012" y="1609738"/>
              <a:ext cx="2235609" cy="2362955"/>
            </a:xfrm>
            <a:prstGeom prst="rect">
              <a:avLst/>
            </a:prstGeom>
          </p:spPr>
        </p:pic>
        <p:pic>
          <p:nvPicPr>
            <p:cNvPr id="37" name="Picture 1885">
              <a:extLst>
                <a:ext uri="{FF2B5EF4-FFF2-40B4-BE49-F238E27FC236}">
                  <a16:creationId xmlns:a16="http://schemas.microsoft.com/office/drawing/2014/main" id="{6DAA1CE6-C876-72FF-EC34-7E490D7B26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108" t="25829" r="-1050"/>
            <a:stretch/>
          </p:blipFill>
          <p:spPr>
            <a:xfrm>
              <a:off x="9161263" y="1918236"/>
              <a:ext cx="1865274" cy="1910871"/>
            </a:xfrm>
            <a:prstGeom prst="rect">
              <a:avLst/>
            </a:prstGeom>
          </p:spPr>
        </p:pic>
      </p:grpSp>
      <p:grpSp>
        <p:nvGrpSpPr>
          <p:cNvPr id="38" name="Grupo 37">
            <a:extLst>
              <a:ext uri="{FF2B5EF4-FFF2-40B4-BE49-F238E27FC236}">
                <a16:creationId xmlns:a16="http://schemas.microsoft.com/office/drawing/2014/main" id="{D8EE19B2-EC77-4582-A148-9306B3A1085B}"/>
              </a:ext>
            </a:extLst>
          </p:cNvPr>
          <p:cNvGrpSpPr/>
          <p:nvPr/>
        </p:nvGrpSpPr>
        <p:grpSpPr>
          <a:xfrm>
            <a:off x="2384052" y="4527298"/>
            <a:ext cx="5714172" cy="1295775"/>
            <a:chOff x="-81932" y="3766041"/>
            <a:chExt cx="11033026" cy="2313512"/>
          </a:xfrm>
        </p:grpSpPr>
        <p:pic>
          <p:nvPicPr>
            <p:cNvPr id="39" name="Picture 1874">
              <a:extLst>
                <a:ext uri="{FF2B5EF4-FFF2-40B4-BE49-F238E27FC236}">
                  <a16:creationId xmlns:a16="http://schemas.microsoft.com/office/drawing/2014/main" id="{342601E2-AD1F-BDCE-58F0-97DA2A2CC3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3662"/>
            <a:stretch/>
          </p:blipFill>
          <p:spPr>
            <a:xfrm>
              <a:off x="3222908" y="3937899"/>
              <a:ext cx="1703833" cy="2141654"/>
            </a:xfrm>
            <a:prstGeom prst="rect">
              <a:avLst/>
            </a:prstGeom>
          </p:spPr>
        </p:pic>
        <p:pic>
          <p:nvPicPr>
            <p:cNvPr id="40" name="Picture 1875">
              <a:extLst>
                <a:ext uri="{FF2B5EF4-FFF2-40B4-BE49-F238E27FC236}">
                  <a16:creationId xmlns:a16="http://schemas.microsoft.com/office/drawing/2014/main" id="{ABD4AD98-3B4B-5706-2C79-5097158075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662"/>
            <a:stretch/>
          </p:blipFill>
          <p:spPr>
            <a:xfrm>
              <a:off x="9247261" y="3766041"/>
              <a:ext cx="1703833" cy="2141654"/>
            </a:xfrm>
            <a:prstGeom prst="rect">
              <a:avLst/>
            </a:prstGeom>
          </p:spPr>
        </p:pic>
        <p:sp>
          <p:nvSpPr>
            <p:cNvPr id="41" name="Arrow: Right 1876">
              <a:extLst>
                <a:ext uri="{FF2B5EF4-FFF2-40B4-BE49-F238E27FC236}">
                  <a16:creationId xmlns:a16="http://schemas.microsoft.com/office/drawing/2014/main" id="{3A226CDE-55D0-B2E3-917C-E1712C642A56}"/>
                </a:ext>
              </a:extLst>
            </p:cNvPr>
            <p:cNvSpPr/>
            <p:nvPr/>
          </p:nvSpPr>
          <p:spPr>
            <a:xfrm>
              <a:off x="4906504" y="4622349"/>
              <a:ext cx="4405883" cy="598816"/>
            </a:xfrm>
            <a:prstGeom prst="rightArrow">
              <a:avLst/>
            </a:prstGeom>
            <a:solidFill>
              <a:srgbClr val="002855"/>
            </a:solidFill>
            <a:ln w="12700" cap="flat" cmpd="sng" algn="ctr">
              <a:solidFill>
                <a:srgbClr val="00285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TextBox 1881">
              <a:extLst>
                <a:ext uri="{FF2B5EF4-FFF2-40B4-BE49-F238E27FC236}">
                  <a16:creationId xmlns:a16="http://schemas.microsoft.com/office/drawing/2014/main" id="{B6B21848-5846-5172-E6BC-2A97ADA3F728}"/>
                </a:ext>
              </a:extLst>
            </p:cNvPr>
            <p:cNvSpPr txBox="1"/>
            <p:nvPr/>
          </p:nvSpPr>
          <p:spPr>
            <a:xfrm>
              <a:off x="-81932" y="4501607"/>
              <a:ext cx="3073831" cy="6705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5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ES" sz="1400" b="0" i="0" u="none" strike="noStrike" kern="0" cap="none" spc="0" normalizeH="0" baseline="0" noProof="0">
                  <a:ln>
                    <a:noFill/>
                  </a:ln>
                  <a:solidFill>
                    <a:srgbClr val="022A56"/>
                  </a:solidFill>
                  <a:effectLst/>
                  <a:uLnTx/>
                  <a:uFillTx/>
                  <a:cs typeface="Arial" panose="020B0604020202020204" pitchFamily="34" charset="0"/>
                </a:rPr>
                <a:t>Vía diferenciada</a:t>
              </a:r>
            </a:p>
          </p:txBody>
        </p:sp>
      </p:grpSp>
      <p:sp>
        <p:nvSpPr>
          <p:cNvPr id="43" name="TextBox 32">
            <a:extLst>
              <a:ext uri="{FF2B5EF4-FFF2-40B4-BE49-F238E27FC236}">
                <a16:creationId xmlns:a16="http://schemas.microsoft.com/office/drawing/2014/main" id="{6F3F21AD-A362-104A-CC7B-0CE6234A6142}"/>
              </a:ext>
            </a:extLst>
          </p:cNvPr>
          <p:cNvSpPr txBox="1"/>
          <p:nvPr/>
        </p:nvSpPr>
        <p:spPr>
          <a:xfrm>
            <a:off x="1824748" y="6290168"/>
            <a:ext cx="82167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just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kumimoji="0" lang="es-ES" sz="80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atushny V, Gober MD, Hick R, Ridky TW, Seykora JT. From keratinocyte to cancer: the pathogenesis and modeling of cutaneous squamous cell carcinoma. J Clin Invest 2012; 122: 464–472. </a:t>
            </a:r>
            <a:r>
              <a:rPr kumimoji="0" lang="es-ES" sz="800" b="1" i="0" u="none" strike="noStrike" kern="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kumimoji="0" lang="es-ES" sz="80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ernandez Figueras MT. From actinic keratosis to squamous cell carcinoma: pathophysiology revisited. J Eur Acad Dermatol Venereol. 2017 Mar;31 Suppl 2:5-7</a:t>
            </a:r>
          </a:p>
        </p:txBody>
      </p:sp>
    </p:spTree>
    <p:extLst>
      <p:ext uri="{BB962C8B-B14F-4D97-AF65-F5344CB8AC3E}">
        <p14:creationId xmlns:p14="http://schemas.microsoft.com/office/powerpoint/2010/main" val="332260069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0D31732-8DA3-7008-C64B-CB6EBC9A071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1351" y="388820"/>
            <a:ext cx="8553164" cy="1240291"/>
          </a:xfrm>
        </p:spPr>
        <p:txBody>
          <a:bodyPr>
            <a:normAutofit/>
          </a:bodyPr>
          <a:lstStyle/>
          <a:p>
            <a:pPr algn="just"/>
            <a:r>
              <a:rPr lang="es-ES" sz="2400"/>
              <a:t>¿La apariencia de la piel/el efecto cosmético tras el tratamiento es relevante (tanto de pacientes como de clínicos) para volver a utilizar </a:t>
            </a:r>
            <a:r>
              <a:rPr lang="es-ES" sz="2400" err="1"/>
              <a:t>tirbanibulina</a:t>
            </a:r>
            <a:r>
              <a:rPr lang="es-ES" sz="2400"/>
              <a:t> de nuevo? </a:t>
            </a:r>
          </a:p>
          <a:p>
            <a:pPr algn="just"/>
            <a:endParaRPr lang="es-ES" sz="240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7D2623DD-CDB4-3834-80BE-72365BAC0465}"/>
              </a:ext>
            </a:extLst>
          </p:cNvPr>
          <p:cNvSpPr txBox="1"/>
          <p:nvPr/>
        </p:nvSpPr>
        <p:spPr>
          <a:xfrm>
            <a:off x="1422354" y="1983732"/>
            <a:ext cx="9347291" cy="2890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LI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El 88% de los pacientes evaluaron el resultado cosmético tras el tratamiento con tirbanibulina como mucho mejor (61%) o algo mejor (27%).</a:t>
            </a:r>
            <a:r>
              <a:rPr kumimoji="0" lang="es-ES" sz="1600" b="1" i="0" u="none" strike="noStrike" kern="1200" cap="none" spc="0" normalizeH="0" baseline="30000" noProof="0">
                <a:ln>
                  <a:noFill/>
                </a:ln>
                <a:solidFill>
                  <a:srgbClr val="6BDEE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1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AK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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l 83,6% de los médicos y el 78,5% de los pacientes calificaron la apariencia general de la piel después del tratamiento con tirbanibulina como mayormente mejor/mucho mejor.</a:t>
            </a:r>
            <a:r>
              <a:rPr kumimoji="0" lang="es-ES" sz="1600" b="1" i="0" u="none" strike="noStrike" kern="1200" cap="none" spc="0" normalizeH="0" baseline="30000" noProof="0">
                <a:ln>
                  <a:noFill/>
                </a:ln>
                <a:solidFill>
                  <a:srgbClr val="6BDEE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 2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RBASKIN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l 96% de los médicos y el 93% de los pacientes calificaron la apariencia general de la piel después del tratamiento con tirbanibulina como mucho mejor/algo mejor y el 91% de los médicos y el 88% de los pacientes estaban extremadamente/muy satisfechos o satisfechos con la tirbanibulina para mejorar “el aspecto de la piel” y "textura de la piel”.</a:t>
            </a:r>
            <a:r>
              <a:rPr kumimoji="0" lang="es-ES" sz="1600" b="1" i="0" u="none" strike="noStrike" kern="1200" cap="none" spc="0" normalizeH="0" baseline="30000" noProof="0">
                <a:ln>
                  <a:noFill/>
                </a:ln>
                <a:solidFill>
                  <a:srgbClr val="6BDEE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 3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5E0ED33E-983A-8B1F-FFA2-5DBD54902D72}"/>
              </a:ext>
            </a:extLst>
          </p:cNvPr>
          <p:cNvSpPr txBox="1"/>
          <p:nvPr/>
        </p:nvSpPr>
        <p:spPr>
          <a:xfrm>
            <a:off x="1432514" y="6237752"/>
            <a:ext cx="8951006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just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6BDE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ppt M, et al.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al-world evidence of tirbanibulin for actinic keratosis in Germany – First insights into patient-reported outcomes. Poster numero P2716 y abstract (ID 989) presentado en el congreso AEDV Berlin, 11-14 octubre 2023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6BDE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.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lesinger, T et al. Clinician-and Patient-Reported Outcomes with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rbanibuli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% Treatment for Actinic Keratosis in Routine Clinical Practice Across the US (PROAK Study). SKIN The Journal of Cutaneous Medicine, 2023, 7(3), 771-787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srgbClr val="6BDE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 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ilaberte Y, et al.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fficacy and safety of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rbanibulin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% ointment for the treatment of actinic keratosis in routine clinical practice in Spain and Italy (TIRBASKIN study).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ster y abstract presentado en el congreso EADO Paris, 4-6 Abril 2024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endParaRPr kumimoji="0" lang="da-DK" sz="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25926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Rectángulo 221">
            <a:extLst>
              <a:ext uri="{FF2B5EF4-FFF2-40B4-BE49-F238E27FC236}">
                <a16:creationId xmlns:a16="http://schemas.microsoft.com/office/drawing/2014/main" id="{93964053-F820-F576-77F7-40CEA52FF91D}"/>
              </a:ext>
            </a:extLst>
          </p:cNvPr>
          <p:cNvSpPr/>
          <p:nvPr/>
        </p:nvSpPr>
        <p:spPr>
          <a:xfrm>
            <a:off x="310171" y="955801"/>
            <a:ext cx="6228762" cy="4882261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3" name="CuadroTexto 222">
            <a:extLst>
              <a:ext uri="{FF2B5EF4-FFF2-40B4-BE49-F238E27FC236}">
                <a16:creationId xmlns:a16="http://schemas.microsoft.com/office/drawing/2014/main" id="{5326130D-C149-A733-E4C2-15AFFF48C82E}"/>
              </a:ext>
            </a:extLst>
          </p:cNvPr>
          <p:cNvSpPr txBox="1"/>
          <p:nvPr/>
        </p:nvSpPr>
        <p:spPr>
          <a:xfrm>
            <a:off x="2932788" y="669795"/>
            <a:ext cx="12433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ana 8</a:t>
            </a: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24" name="Grupo 223">
            <a:extLst>
              <a:ext uri="{FF2B5EF4-FFF2-40B4-BE49-F238E27FC236}">
                <a16:creationId xmlns:a16="http://schemas.microsoft.com/office/drawing/2014/main" id="{1E51AB85-6760-ADF6-4863-F088EB25DE56}"/>
              </a:ext>
            </a:extLst>
          </p:cNvPr>
          <p:cNvGrpSpPr/>
          <p:nvPr/>
        </p:nvGrpSpPr>
        <p:grpSpPr>
          <a:xfrm>
            <a:off x="1290660" y="1333757"/>
            <a:ext cx="4549452" cy="2260432"/>
            <a:chOff x="1462747" y="1366222"/>
            <a:chExt cx="3992656" cy="1942693"/>
          </a:xfrm>
        </p:grpSpPr>
        <p:grpSp>
          <p:nvGrpSpPr>
            <p:cNvPr id="225" name="Grupo 224">
              <a:extLst>
                <a:ext uri="{FF2B5EF4-FFF2-40B4-BE49-F238E27FC236}">
                  <a16:creationId xmlns:a16="http://schemas.microsoft.com/office/drawing/2014/main" id="{C4404995-B92A-4029-39CC-9D410193FEDB}"/>
                </a:ext>
              </a:extLst>
            </p:cNvPr>
            <p:cNvGrpSpPr/>
            <p:nvPr/>
          </p:nvGrpSpPr>
          <p:grpSpPr>
            <a:xfrm>
              <a:off x="1654525" y="1418613"/>
              <a:ext cx="3800878" cy="1847886"/>
              <a:chOff x="330143" y="2784091"/>
              <a:chExt cx="3090294" cy="1553194"/>
            </a:xfrm>
          </p:grpSpPr>
          <p:graphicFrame>
            <p:nvGraphicFramePr>
              <p:cNvPr id="228" name="Content Placeholder 8">
                <a:extLst>
                  <a:ext uri="{FF2B5EF4-FFF2-40B4-BE49-F238E27FC236}">
                    <a16:creationId xmlns:a16="http://schemas.microsoft.com/office/drawing/2014/main" id="{B9AEF478-363E-87C4-D9F4-FD049FCA2ADE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330143" y="2784091"/>
              <a:ext cx="3090294" cy="1553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229" name="TextBox 95">
                <a:extLst>
                  <a:ext uri="{FF2B5EF4-FFF2-40B4-BE49-F238E27FC236}">
                    <a16:creationId xmlns:a16="http://schemas.microsoft.com/office/drawing/2014/main" id="{E349B580-FE42-B941-2F4A-DB2FEFAAEDD6}"/>
                  </a:ext>
                </a:extLst>
              </p:cNvPr>
              <p:cNvSpPr txBox="1"/>
              <p:nvPr/>
            </p:nvSpPr>
            <p:spPr>
              <a:xfrm>
                <a:off x="356761" y="4075822"/>
                <a:ext cx="570107" cy="1982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2004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33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=290</a:t>
                </a:r>
              </a:p>
            </p:txBody>
          </p:sp>
        </p:grpSp>
        <p:sp>
          <p:nvSpPr>
            <p:cNvPr id="226" name="TextBox 25">
              <a:extLst>
                <a:ext uri="{FF2B5EF4-FFF2-40B4-BE49-F238E27FC236}">
                  <a16:creationId xmlns:a16="http://schemas.microsoft.com/office/drawing/2014/main" id="{41240515-F11A-09DE-5001-822D6327A303}"/>
                </a:ext>
              </a:extLst>
            </p:cNvPr>
            <p:cNvSpPr txBox="1"/>
            <p:nvPr/>
          </p:nvSpPr>
          <p:spPr>
            <a:xfrm rot="16200000">
              <a:off x="721127" y="2107842"/>
              <a:ext cx="1847886" cy="3646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porción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cientes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ínicos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 la </a:t>
              </a: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mana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8</a:t>
              </a:r>
            </a:p>
          </p:txBody>
        </p:sp>
        <p:sp>
          <p:nvSpPr>
            <p:cNvPr id="227" name="Rectángulo 226">
              <a:extLst>
                <a:ext uri="{FF2B5EF4-FFF2-40B4-BE49-F238E27FC236}">
                  <a16:creationId xmlns:a16="http://schemas.microsoft.com/office/drawing/2014/main" id="{96DC36BF-686C-51F5-22D7-ABC925CEE94F}"/>
                </a:ext>
              </a:extLst>
            </p:cNvPr>
            <p:cNvSpPr/>
            <p:nvPr/>
          </p:nvSpPr>
          <p:spPr>
            <a:xfrm>
              <a:off x="2223921" y="1460001"/>
              <a:ext cx="1014249" cy="184891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30" name="Marcador de texto 1">
            <a:extLst>
              <a:ext uri="{FF2B5EF4-FFF2-40B4-BE49-F238E27FC236}">
                <a16:creationId xmlns:a16="http://schemas.microsoft.com/office/drawing/2014/main" id="{214A9CF8-9ADB-2CF1-13EA-04F4C3FD8046}"/>
              </a:ext>
            </a:extLst>
          </p:cNvPr>
          <p:cNvSpPr txBox="1">
            <a:spLocks/>
          </p:cNvSpPr>
          <p:nvPr/>
        </p:nvSpPr>
        <p:spPr>
          <a:xfrm>
            <a:off x="33679" y="11274"/>
            <a:ext cx="9747530" cy="40782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8C93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EPQ –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Apariencia general tras tratamiento con tirbanibulina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+mn-cs"/>
            </a:endParaRPr>
          </a:p>
        </p:txBody>
      </p:sp>
      <p:grpSp>
        <p:nvGrpSpPr>
          <p:cNvPr id="232" name="Group 33">
            <a:extLst>
              <a:ext uri="{FF2B5EF4-FFF2-40B4-BE49-F238E27FC236}">
                <a16:creationId xmlns:a16="http://schemas.microsoft.com/office/drawing/2014/main" id="{17A2F18F-1173-1974-435A-923ED8427BA6}"/>
              </a:ext>
            </a:extLst>
          </p:cNvPr>
          <p:cNvGrpSpPr/>
          <p:nvPr/>
        </p:nvGrpSpPr>
        <p:grpSpPr>
          <a:xfrm>
            <a:off x="571430" y="4527430"/>
            <a:ext cx="5910941" cy="904371"/>
            <a:chOff x="759921" y="5626077"/>
            <a:chExt cx="15942442" cy="3636000"/>
          </a:xfrm>
        </p:grpSpPr>
        <p:graphicFrame>
          <p:nvGraphicFramePr>
            <p:cNvPr id="233" name="Chart 31">
              <a:extLst>
                <a:ext uri="{FF2B5EF4-FFF2-40B4-BE49-F238E27FC236}">
                  <a16:creationId xmlns:a16="http://schemas.microsoft.com/office/drawing/2014/main" id="{91A1631A-F86B-1810-48E7-9854A9CCE0E9}"/>
                </a:ext>
              </a:extLst>
            </p:cNvPr>
            <p:cNvGraphicFramePr/>
            <p:nvPr/>
          </p:nvGraphicFramePr>
          <p:xfrm>
            <a:off x="759921" y="5626077"/>
            <a:ext cx="15942442" cy="3636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34" name="TextBox 32">
              <a:extLst>
                <a:ext uri="{FF2B5EF4-FFF2-40B4-BE49-F238E27FC236}">
                  <a16:creationId xmlns:a16="http://schemas.microsoft.com/office/drawing/2014/main" id="{94AF0B75-5AB6-E070-286E-D1A3A4034F43}"/>
                </a:ext>
              </a:extLst>
            </p:cNvPr>
            <p:cNvSpPr txBox="1"/>
            <p:nvPr/>
          </p:nvSpPr>
          <p:spPr>
            <a:xfrm>
              <a:off x="835200" y="8442351"/>
              <a:ext cx="1674499" cy="747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=205</a:t>
              </a:r>
            </a:p>
          </p:txBody>
        </p:sp>
      </p:grpSp>
      <p:sp>
        <p:nvSpPr>
          <p:cNvPr id="236" name="Rectángulo 235">
            <a:extLst>
              <a:ext uri="{FF2B5EF4-FFF2-40B4-BE49-F238E27FC236}">
                <a16:creationId xmlns:a16="http://schemas.microsoft.com/office/drawing/2014/main" id="{FE768F9C-0F4D-3592-0C0E-F849BE43A5AA}"/>
              </a:ext>
            </a:extLst>
          </p:cNvPr>
          <p:cNvSpPr/>
          <p:nvPr/>
        </p:nvSpPr>
        <p:spPr>
          <a:xfrm>
            <a:off x="571430" y="4557304"/>
            <a:ext cx="3767586" cy="62567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7" name="CuadroTexto 236">
            <a:extLst>
              <a:ext uri="{FF2B5EF4-FFF2-40B4-BE49-F238E27FC236}">
                <a16:creationId xmlns:a16="http://schemas.microsoft.com/office/drawing/2014/main" id="{767BA911-CC3F-E377-090B-F645A9DB151B}"/>
              </a:ext>
            </a:extLst>
          </p:cNvPr>
          <p:cNvSpPr txBox="1"/>
          <p:nvPr/>
        </p:nvSpPr>
        <p:spPr>
          <a:xfrm>
            <a:off x="8974238" y="669795"/>
            <a:ext cx="12433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ana 24</a:t>
            </a:r>
            <a:endParaRPr kumimoji="0" lang="es-ES" sz="1400" b="0" i="0" u="none" strike="noStrike" kern="1200" cap="none" spc="0" normalizeH="0" baseline="3000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8" name="Grupo 237">
            <a:extLst>
              <a:ext uri="{FF2B5EF4-FFF2-40B4-BE49-F238E27FC236}">
                <a16:creationId xmlns:a16="http://schemas.microsoft.com/office/drawing/2014/main" id="{47E18F13-3D89-5B7E-6FF4-1AB0B5ED7E89}"/>
              </a:ext>
            </a:extLst>
          </p:cNvPr>
          <p:cNvGrpSpPr/>
          <p:nvPr/>
        </p:nvGrpSpPr>
        <p:grpSpPr>
          <a:xfrm>
            <a:off x="7038032" y="1187680"/>
            <a:ext cx="4774350" cy="2783235"/>
            <a:chOff x="7109714" y="1155421"/>
            <a:chExt cx="3910997" cy="1847886"/>
          </a:xfrm>
        </p:grpSpPr>
        <p:grpSp>
          <p:nvGrpSpPr>
            <p:cNvPr id="239" name="Grupo 238">
              <a:extLst>
                <a:ext uri="{FF2B5EF4-FFF2-40B4-BE49-F238E27FC236}">
                  <a16:creationId xmlns:a16="http://schemas.microsoft.com/office/drawing/2014/main" id="{77DF29C3-D35B-4A63-1B7E-69D05EEEA0F3}"/>
                </a:ext>
              </a:extLst>
            </p:cNvPr>
            <p:cNvGrpSpPr/>
            <p:nvPr/>
          </p:nvGrpSpPr>
          <p:grpSpPr>
            <a:xfrm>
              <a:off x="7218342" y="1155421"/>
              <a:ext cx="3802369" cy="1847886"/>
              <a:chOff x="3648126" y="2754725"/>
              <a:chExt cx="3090294" cy="1553194"/>
            </a:xfrm>
          </p:grpSpPr>
          <p:graphicFrame>
            <p:nvGraphicFramePr>
              <p:cNvPr id="242" name="Content Placeholder 8">
                <a:extLst>
                  <a:ext uri="{FF2B5EF4-FFF2-40B4-BE49-F238E27FC236}">
                    <a16:creationId xmlns:a16="http://schemas.microsoft.com/office/drawing/2014/main" id="{8A12CB3D-80CC-6B3F-A246-C11D6DAF33EC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3648126" y="2754725"/>
              <a:ext cx="3090294" cy="1553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243" name="TextBox 95">
                <a:extLst>
                  <a:ext uri="{FF2B5EF4-FFF2-40B4-BE49-F238E27FC236}">
                    <a16:creationId xmlns:a16="http://schemas.microsoft.com/office/drawing/2014/main" id="{F22A6895-9F8E-74ED-AB17-CD0FC72F8616}"/>
                  </a:ext>
                </a:extLst>
              </p:cNvPr>
              <p:cNvSpPr txBox="1"/>
              <p:nvPr/>
            </p:nvSpPr>
            <p:spPr>
              <a:xfrm>
                <a:off x="3794871" y="4067960"/>
                <a:ext cx="570107" cy="1769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122004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33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=274</a:t>
                </a:r>
              </a:p>
            </p:txBody>
          </p:sp>
        </p:grpSp>
        <p:sp>
          <p:nvSpPr>
            <p:cNvPr id="240" name="TextBox 25">
              <a:extLst>
                <a:ext uri="{FF2B5EF4-FFF2-40B4-BE49-F238E27FC236}">
                  <a16:creationId xmlns:a16="http://schemas.microsoft.com/office/drawing/2014/main" id="{F0BE1D21-4D47-C8C3-5E66-E31B75C50919}"/>
                </a:ext>
              </a:extLst>
            </p:cNvPr>
            <p:cNvSpPr txBox="1"/>
            <p:nvPr/>
          </p:nvSpPr>
          <p:spPr>
            <a:xfrm rot="16200000">
              <a:off x="6529464" y="1907164"/>
              <a:ext cx="1500863" cy="3403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porción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cientes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ínicos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 la </a:t>
              </a: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mana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24</a:t>
              </a:r>
            </a:p>
          </p:txBody>
        </p:sp>
        <p:sp>
          <p:nvSpPr>
            <p:cNvPr id="241" name="Rectángulo 240">
              <a:extLst>
                <a:ext uri="{FF2B5EF4-FFF2-40B4-BE49-F238E27FC236}">
                  <a16:creationId xmlns:a16="http://schemas.microsoft.com/office/drawing/2014/main" id="{2D1092AE-4267-1610-946E-41AA245B9C05}"/>
                </a:ext>
              </a:extLst>
            </p:cNvPr>
            <p:cNvSpPr/>
            <p:nvPr/>
          </p:nvSpPr>
          <p:spPr>
            <a:xfrm>
              <a:off x="7816768" y="1344260"/>
              <a:ext cx="1008993" cy="159821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4" name="Grupo 243">
            <a:extLst>
              <a:ext uri="{FF2B5EF4-FFF2-40B4-BE49-F238E27FC236}">
                <a16:creationId xmlns:a16="http://schemas.microsoft.com/office/drawing/2014/main" id="{D2E2FCC0-12B8-3BC1-9471-AEFA17B9D624}"/>
              </a:ext>
            </a:extLst>
          </p:cNvPr>
          <p:cNvGrpSpPr/>
          <p:nvPr/>
        </p:nvGrpSpPr>
        <p:grpSpPr>
          <a:xfrm>
            <a:off x="7534293" y="4205904"/>
            <a:ext cx="3988916" cy="1591856"/>
            <a:chOff x="7511143" y="3721824"/>
            <a:chExt cx="3988916" cy="2116238"/>
          </a:xfrm>
        </p:grpSpPr>
        <p:sp>
          <p:nvSpPr>
            <p:cNvPr id="245" name="Rectángulo 244">
              <a:extLst>
                <a:ext uri="{FF2B5EF4-FFF2-40B4-BE49-F238E27FC236}">
                  <a16:creationId xmlns:a16="http://schemas.microsoft.com/office/drawing/2014/main" id="{96EADC57-0411-BC38-82CB-BD37E4DD2E0A}"/>
                </a:ext>
              </a:extLst>
            </p:cNvPr>
            <p:cNvSpPr/>
            <p:nvPr/>
          </p:nvSpPr>
          <p:spPr>
            <a:xfrm>
              <a:off x="7511143" y="3721824"/>
              <a:ext cx="3988916" cy="2116238"/>
            </a:xfrm>
            <a:prstGeom prst="rect">
              <a:avLst/>
            </a:prstGeom>
            <a:solidFill>
              <a:srgbClr val="FFCCCC">
                <a:alpha val="36863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6" name="CuadroTexto 245">
              <a:extLst>
                <a:ext uri="{FF2B5EF4-FFF2-40B4-BE49-F238E27FC236}">
                  <a16:creationId xmlns:a16="http://schemas.microsoft.com/office/drawing/2014/main" id="{5E881202-3A82-72D0-D408-FDEB2E74D238}"/>
                </a:ext>
              </a:extLst>
            </p:cNvPr>
            <p:cNvSpPr txBox="1"/>
            <p:nvPr/>
          </p:nvSpPr>
          <p:spPr>
            <a:xfrm>
              <a:off x="7679887" y="3816404"/>
              <a:ext cx="3646714" cy="13877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ás del </a:t>
              </a:r>
              <a:r>
                <a:rPr kumimoji="0" lang="es-ES" sz="18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91%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los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édicos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 del </a:t>
              </a:r>
              <a:r>
                <a:rPr kumimoji="0" lang="es-ES" sz="18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4%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los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cientes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lificaron la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ariencia general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la piel como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cho/algo mejorada </a:t>
              </a:r>
              <a:r>
                <a:rPr kumimoji="0" lang="es-ES" sz="1200" b="0" i="0" u="sng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la semana 8</a:t>
              </a:r>
              <a:r>
                <a:rPr kumimoji="0" lang="es-ES" sz="1200" b="0" i="0" u="sng" strike="noStrike" kern="120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s-ES" sz="1200" b="0" i="0" u="sng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y se mantuvo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el PROAK en un 85 y 78 % respectivamente </a:t>
              </a:r>
              <a:r>
                <a:rPr kumimoji="0" lang="es-ES" sz="1200" b="0" i="0" u="sng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sta la semana 24</a:t>
              </a:r>
              <a:r>
                <a:rPr kumimoji="0" lang="es-ES" sz="1200" b="0" i="0" u="sng" strike="noStrike" kern="120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  <a:r>
                <a:rPr kumimoji="0" lang="es-ES" sz="1200" b="0" i="0" u="sng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</a:t>
              </a:r>
              <a:endPara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7" name="CuadroTexto 246">
            <a:extLst>
              <a:ext uri="{FF2B5EF4-FFF2-40B4-BE49-F238E27FC236}">
                <a16:creationId xmlns:a16="http://schemas.microsoft.com/office/drawing/2014/main" id="{A33A78FB-B5EF-7282-C9DD-F9EDEC1609CE}"/>
              </a:ext>
            </a:extLst>
          </p:cNvPr>
          <p:cNvSpPr txBox="1"/>
          <p:nvPr/>
        </p:nvSpPr>
        <p:spPr>
          <a:xfrm>
            <a:off x="1740317" y="6236927"/>
            <a:ext cx="831035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700">
                <a:solidFill>
                  <a:prstClr val="black">
                    <a:lumMod val="65000"/>
                    <a:lumOff val="35000"/>
                  </a:prst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PQ, 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pert Panel Questionnaire</a:t>
            </a:r>
          </a:p>
          <a:p>
            <a:pPr marL="0" marR="0" lvl="0" indent="0" algn="just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dapted from: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kumimoji="0" lang="fr-FR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 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Schlesinger, T et al. (2023). SKIN The Journal of </a:t>
            </a:r>
            <a:r>
              <a:rPr kumimoji="0" lang="fr-FR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Cutaneous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 </a:t>
            </a:r>
            <a:r>
              <a:rPr kumimoji="0" lang="fr-FR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Medicine</a:t>
            </a: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, 7(3), 771-787.</a:t>
            </a:r>
            <a:r>
              <a:rPr kumimoji="0" lang="fr-FR" sz="8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 </a:t>
            </a:r>
            <a:r>
              <a:rPr kumimoji="0" lang="es-ES_tradnl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2. 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rPr>
              <a:t>Schlesinger T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t al.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SKIN 2023, 7(6), s262 </a:t>
            </a:r>
            <a:r>
              <a:rPr kumimoji="0" lang="es-ES_tradnl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3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ilaberte Y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t al.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53" name="Grupo 252">
            <a:extLst>
              <a:ext uri="{FF2B5EF4-FFF2-40B4-BE49-F238E27FC236}">
                <a16:creationId xmlns:a16="http://schemas.microsoft.com/office/drawing/2014/main" id="{05440672-14E3-3611-2486-EB579E5FFC96}"/>
              </a:ext>
            </a:extLst>
          </p:cNvPr>
          <p:cNvGrpSpPr/>
          <p:nvPr/>
        </p:nvGrpSpPr>
        <p:grpSpPr>
          <a:xfrm>
            <a:off x="2205257" y="3145205"/>
            <a:ext cx="3514355" cy="268307"/>
            <a:chOff x="2192872" y="3241462"/>
            <a:chExt cx="3235285" cy="527223"/>
          </a:xfrm>
        </p:grpSpPr>
        <p:sp>
          <p:nvSpPr>
            <p:cNvPr id="254" name="CuadroTexto 253">
              <a:extLst>
                <a:ext uri="{FF2B5EF4-FFF2-40B4-BE49-F238E27FC236}">
                  <a16:creationId xmlns:a16="http://schemas.microsoft.com/office/drawing/2014/main" id="{4D34E9F9-D270-C11A-7DF5-5321EF034379}"/>
                </a:ext>
              </a:extLst>
            </p:cNvPr>
            <p:cNvSpPr txBox="1"/>
            <p:nvPr/>
          </p:nvSpPr>
          <p:spPr>
            <a:xfrm>
              <a:off x="2192872" y="3241462"/>
              <a:ext cx="1052102" cy="5272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cho/Algo mejor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5" name="CuadroTexto 254">
              <a:extLst>
                <a:ext uri="{FF2B5EF4-FFF2-40B4-BE49-F238E27FC236}">
                  <a16:creationId xmlns:a16="http://schemas.microsoft.com/office/drawing/2014/main" id="{9A47B649-9C34-3901-6983-03B1B7D4B7D3}"/>
                </a:ext>
              </a:extLst>
            </p:cNvPr>
            <p:cNvSpPr txBox="1"/>
            <p:nvPr/>
          </p:nvSpPr>
          <p:spPr>
            <a:xfrm>
              <a:off x="3189913" y="3262662"/>
              <a:ext cx="1177880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 cambio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6" name="CuadroTexto 255">
              <a:extLst>
                <a:ext uri="{FF2B5EF4-FFF2-40B4-BE49-F238E27FC236}">
                  <a16:creationId xmlns:a16="http://schemas.microsoft.com/office/drawing/2014/main" id="{1939B233-DBD4-3E34-5B8A-861B3DDFA35C}"/>
                </a:ext>
              </a:extLst>
            </p:cNvPr>
            <p:cNvSpPr txBox="1"/>
            <p:nvPr/>
          </p:nvSpPr>
          <p:spPr>
            <a:xfrm>
              <a:off x="4250277" y="3259135"/>
              <a:ext cx="1177880" cy="4989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cho/Algo peor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57" name="Grupo 256">
            <a:extLst>
              <a:ext uri="{FF2B5EF4-FFF2-40B4-BE49-F238E27FC236}">
                <a16:creationId xmlns:a16="http://schemas.microsoft.com/office/drawing/2014/main" id="{58CD6674-C5D5-E38B-4CC2-35AE2AE262BF}"/>
              </a:ext>
            </a:extLst>
          </p:cNvPr>
          <p:cNvGrpSpPr/>
          <p:nvPr/>
        </p:nvGrpSpPr>
        <p:grpSpPr>
          <a:xfrm>
            <a:off x="7990662" y="3413512"/>
            <a:ext cx="3514355" cy="268307"/>
            <a:chOff x="2192872" y="3241462"/>
            <a:chExt cx="3235285" cy="527223"/>
          </a:xfrm>
        </p:grpSpPr>
        <p:sp>
          <p:nvSpPr>
            <p:cNvPr id="258" name="CuadroTexto 257">
              <a:extLst>
                <a:ext uri="{FF2B5EF4-FFF2-40B4-BE49-F238E27FC236}">
                  <a16:creationId xmlns:a16="http://schemas.microsoft.com/office/drawing/2014/main" id="{44672D00-56E5-CF9C-1602-0CA8E1ECB31A}"/>
                </a:ext>
              </a:extLst>
            </p:cNvPr>
            <p:cNvSpPr txBox="1"/>
            <p:nvPr/>
          </p:nvSpPr>
          <p:spPr>
            <a:xfrm>
              <a:off x="2192872" y="3241462"/>
              <a:ext cx="1052102" cy="5272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cho/Algo mejor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9" name="CuadroTexto 258">
              <a:extLst>
                <a:ext uri="{FF2B5EF4-FFF2-40B4-BE49-F238E27FC236}">
                  <a16:creationId xmlns:a16="http://schemas.microsoft.com/office/drawing/2014/main" id="{CCE004C9-BD5E-92B2-B881-9157E49EA313}"/>
                </a:ext>
              </a:extLst>
            </p:cNvPr>
            <p:cNvSpPr txBox="1"/>
            <p:nvPr/>
          </p:nvSpPr>
          <p:spPr>
            <a:xfrm>
              <a:off x="3189913" y="3262662"/>
              <a:ext cx="1177880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 cambio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0" name="CuadroTexto 259">
              <a:extLst>
                <a:ext uri="{FF2B5EF4-FFF2-40B4-BE49-F238E27FC236}">
                  <a16:creationId xmlns:a16="http://schemas.microsoft.com/office/drawing/2014/main" id="{7F5AC4D3-914C-6A79-C051-5F4240CEB285}"/>
                </a:ext>
              </a:extLst>
            </p:cNvPr>
            <p:cNvSpPr txBox="1"/>
            <p:nvPr/>
          </p:nvSpPr>
          <p:spPr>
            <a:xfrm>
              <a:off x="4250277" y="3259135"/>
              <a:ext cx="1177880" cy="4989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cho/Algo peor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61" name="Grupo 260">
            <a:extLst>
              <a:ext uri="{FF2B5EF4-FFF2-40B4-BE49-F238E27FC236}">
                <a16:creationId xmlns:a16="http://schemas.microsoft.com/office/drawing/2014/main" id="{99A0C3E6-1F4F-76DD-4EA6-C207B271615A}"/>
              </a:ext>
            </a:extLst>
          </p:cNvPr>
          <p:cNvGrpSpPr/>
          <p:nvPr/>
        </p:nvGrpSpPr>
        <p:grpSpPr>
          <a:xfrm>
            <a:off x="5416700" y="4545259"/>
            <a:ext cx="1238938" cy="732797"/>
            <a:chOff x="5416700" y="4545259"/>
            <a:chExt cx="1238938" cy="732797"/>
          </a:xfrm>
        </p:grpSpPr>
        <p:sp>
          <p:nvSpPr>
            <p:cNvPr id="262" name="Rectángulo 261">
              <a:extLst>
                <a:ext uri="{FF2B5EF4-FFF2-40B4-BE49-F238E27FC236}">
                  <a16:creationId xmlns:a16="http://schemas.microsoft.com/office/drawing/2014/main" id="{11EEE95C-6D3D-C78B-92A7-8DABEFFE2248}"/>
                </a:ext>
              </a:extLst>
            </p:cNvPr>
            <p:cNvSpPr/>
            <p:nvPr/>
          </p:nvSpPr>
          <p:spPr>
            <a:xfrm>
              <a:off x="5594841" y="4583573"/>
              <a:ext cx="829108" cy="69448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3" name="CuadroTexto 262">
              <a:extLst>
                <a:ext uri="{FF2B5EF4-FFF2-40B4-BE49-F238E27FC236}">
                  <a16:creationId xmlns:a16="http://schemas.microsoft.com/office/drawing/2014/main" id="{FAA8E4F9-D45B-87BD-4E89-3B81AD3F1A98}"/>
                </a:ext>
              </a:extLst>
            </p:cNvPr>
            <p:cNvSpPr txBox="1"/>
            <p:nvPr/>
          </p:nvSpPr>
          <p:spPr>
            <a:xfrm>
              <a:off x="5524678" y="4545259"/>
              <a:ext cx="1126437" cy="1981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86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cho/Algo mejor</a:t>
              </a:r>
              <a:endParaRPr kumimoji="0" lang="es-ES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4" name="CuadroTexto 263">
              <a:extLst>
                <a:ext uri="{FF2B5EF4-FFF2-40B4-BE49-F238E27FC236}">
                  <a16:creationId xmlns:a16="http://schemas.microsoft.com/office/drawing/2014/main" id="{19AFEDC3-8605-2EE3-73EB-10396483CE45}"/>
                </a:ext>
              </a:extLst>
            </p:cNvPr>
            <p:cNvSpPr txBox="1"/>
            <p:nvPr/>
          </p:nvSpPr>
          <p:spPr>
            <a:xfrm>
              <a:off x="5513269" y="4752820"/>
              <a:ext cx="798556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86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 cambio</a:t>
              </a:r>
              <a:endParaRPr kumimoji="0" lang="es-ES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5" name="CuadroTexto 264">
              <a:extLst>
                <a:ext uri="{FF2B5EF4-FFF2-40B4-BE49-F238E27FC236}">
                  <a16:creationId xmlns:a16="http://schemas.microsoft.com/office/drawing/2014/main" id="{8D03BF49-F765-C384-13DF-DE9753E71C6D}"/>
                </a:ext>
              </a:extLst>
            </p:cNvPr>
            <p:cNvSpPr txBox="1"/>
            <p:nvPr/>
          </p:nvSpPr>
          <p:spPr>
            <a:xfrm>
              <a:off x="5416700" y="5015978"/>
              <a:ext cx="123893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86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cho/algo peor</a:t>
              </a:r>
              <a:endParaRPr kumimoji="0" lang="es-ES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6" name="Rectángulo 265">
            <a:extLst>
              <a:ext uri="{FF2B5EF4-FFF2-40B4-BE49-F238E27FC236}">
                <a16:creationId xmlns:a16="http://schemas.microsoft.com/office/drawing/2014/main" id="{A807C36D-84E8-EC96-E34D-9872A5AB0D8F}"/>
              </a:ext>
            </a:extLst>
          </p:cNvPr>
          <p:cNvSpPr/>
          <p:nvPr/>
        </p:nvSpPr>
        <p:spPr>
          <a:xfrm>
            <a:off x="4234040" y="1385352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7" name="Rectángulo 266">
            <a:extLst>
              <a:ext uri="{FF2B5EF4-FFF2-40B4-BE49-F238E27FC236}">
                <a16:creationId xmlns:a16="http://schemas.microsoft.com/office/drawing/2014/main" id="{D62364C2-6AAF-B845-3A58-BEB0341E36FF}"/>
              </a:ext>
            </a:extLst>
          </p:cNvPr>
          <p:cNvSpPr/>
          <p:nvPr/>
        </p:nvSpPr>
        <p:spPr>
          <a:xfrm>
            <a:off x="5131307" y="1399236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8" name="CuadroTexto 267">
            <a:extLst>
              <a:ext uri="{FF2B5EF4-FFF2-40B4-BE49-F238E27FC236}">
                <a16:creationId xmlns:a16="http://schemas.microsoft.com/office/drawing/2014/main" id="{820194B2-31DD-86C1-1533-36850C203B2C}"/>
              </a:ext>
            </a:extLst>
          </p:cNvPr>
          <p:cNvSpPr txBox="1"/>
          <p:nvPr/>
        </p:nvSpPr>
        <p:spPr>
          <a:xfrm>
            <a:off x="4110885" y="1362665"/>
            <a:ext cx="7722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ínico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9" name="CuadroTexto 268">
            <a:extLst>
              <a:ext uri="{FF2B5EF4-FFF2-40B4-BE49-F238E27FC236}">
                <a16:creationId xmlns:a16="http://schemas.microsoft.com/office/drawing/2014/main" id="{3E6F1D5B-DB59-6CA5-BB7D-2393D90D0F06}"/>
              </a:ext>
            </a:extLst>
          </p:cNvPr>
          <p:cNvSpPr txBox="1"/>
          <p:nvPr/>
        </p:nvSpPr>
        <p:spPr>
          <a:xfrm>
            <a:off x="5028092" y="1366968"/>
            <a:ext cx="86740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70" name="Grupo 269">
            <a:extLst>
              <a:ext uri="{FF2B5EF4-FFF2-40B4-BE49-F238E27FC236}">
                <a16:creationId xmlns:a16="http://schemas.microsoft.com/office/drawing/2014/main" id="{5C38E05F-6E93-22D5-E0BE-A9F3CA09ABA7}"/>
              </a:ext>
            </a:extLst>
          </p:cNvPr>
          <p:cNvGrpSpPr/>
          <p:nvPr/>
        </p:nvGrpSpPr>
        <p:grpSpPr>
          <a:xfrm>
            <a:off x="10066072" y="1217541"/>
            <a:ext cx="1823153" cy="282147"/>
            <a:chOff x="10066072" y="1217541"/>
            <a:chExt cx="1823153" cy="282147"/>
          </a:xfrm>
        </p:grpSpPr>
        <p:sp>
          <p:nvSpPr>
            <p:cNvPr id="271" name="Rectángulo 270">
              <a:extLst>
                <a:ext uri="{FF2B5EF4-FFF2-40B4-BE49-F238E27FC236}">
                  <a16:creationId xmlns:a16="http://schemas.microsoft.com/office/drawing/2014/main" id="{25456E30-0810-A18F-D2E2-CB60541CBB47}"/>
                </a:ext>
              </a:extLst>
            </p:cNvPr>
            <p:cNvSpPr/>
            <p:nvPr/>
          </p:nvSpPr>
          <p:spPr>
            <a:xfrm>
              <a:off x="10192471" y="1217541"/>
              <a:ext cx="638903" cy="2114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2" name="Rectángulo 271">
              <a:extLst>
                <a:ext uri="{FF2B5EF4-FFF2-40B4-BE49-F238E27FC236}">
                  <a16:creationId xmlns:a16="http://schemas.microsoft.com/office/drawing/2014/main" id="{472B95FC-D524-C57F-5019-07E4529EAC62}"/>
                </a:ext>
              </a:extLst>
            </p:cNvPr>
            <p:cNvSpPr/>
            <p:nvPr/>
          </p:nvSpPr>
          <p:spPr>
            <a:xfrm>
              <a:off x="11098882" y="1231425"/>
              <a:ext cx="638903" cy="2114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3" name="CuadroTexto 272">
              <a:extLst>
                <a:ext uri="{FF2B5EF4-FFF2-40B4-BE49-F238E27FC236}">
                  <a16:creationId xmlns:a16="http://schemas.microsoft.com/office/drawing/2014/main" id="{E0C2AD7D-D6B0-9A08-19DE-A7A676C01BE2}"/>
                </a:ext>
              </a:extLst>
            </p:cNvPr>
            <p:cNvSpPr txBox="1"/>
            <p:nvPr/>
          </p:nvSpPr>
          <p:spPr>
            <a:xfrm>
              <a:off x="10066072" y="1222689"/>
              <a:ext cx="772218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ínicos</a:t>
              </a:r>
              <a:endPara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4" name="CuadroTexto 273">
              <a:extLst>
                <a:ext uri="{FF2B5EF4-FFF2-40B4-BE49-F238E27FC236}">
                  <a16:creationId xmlns:a16="http://schemas.microsoft.com/office/drawing/2014/main" id="{432E186E-1638-A6C4-E953-7589E4766384}"/>
                </a:ext>
              </a:extLst>
            </p:cNvPr>
            <p:cNvSpPr txBox="1"/>
            <p:nvPr/>
          </p:nvSpPr>
          <p:spPr>
            <a:xfrm>
              <a:off x="11021823" y="1219906"/>
              <a:ext cx="867402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cientes</a:t>
              </a:r>
              <a:endPara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75" name="CuadroTexto 274">
            <a:extLst>
              <a:ext uri="{FF2B5EF4-FFF2-40B4-BE49-F238E27FC236}">
                <a16:creationId xmlns:a16="http://schemas.microsoft.com/office/drawing/2014/main" id="{A5D45720-5EEB-9A91-17C7-C1EB993E050C}"/>
              </a:ext>
            </a:extLst>
          </p:cNvPr>
          <p:cNvSpPr txBox="1"/>
          <p:nvPr/>
        </p:nvSpPr>
        <p:spPr>
          <a:xfrm>
            <a:off x="623275" y="4578311"/>
            <a:ext cx="74501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ínico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6" name="CuadroTexto 275">
            <a:extLst>
              <a:ext uri="{FF2B5EF4-FFF2-40B4-BE49-F238E27FC236}">
                <a16:creationId xmlns:a16="http://schemas.microsoft.com/office/drawing/2014/main" id="{134861C9-66F9-869A-BE1F-7B01AC067E75}"/>
              </a:ext>
            </a:extLst>
          </p:cNvPr>
          <p:cNvSpPr txBox="1"/>
          <p:nvPr/>
        </p:nvSpPr>
        <p:spPr>
          <a:xfrm>
            <a:off x="553621" y="4930814"/>
            <a:ext cx="867402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7" name="Rectángulo 276">
            <a:extLst>
              <a:ext uri="{FF2B5EF4-FFF2-40B4-BE49-F238E27FC236}">
                <a16:creationId xmlns:a16="http://schemas.microsoft.com/office/drawing/2014/main" id="{2EB50105-6736-9283-7864-C6F266856349}"/>
              </a:ext>
            </a:extLst>
          </p:cNvPr>
          <p:cNvSpPr/>
          <p:nvPr/>
        </p:nvSpPr>
        <p:spPr>
          <a:xfrm>
            <a:off x="310171" y="957819"/>
            <a:ext cx="6228762" cy="4882261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8" name="CuadroTexto 277">
            <a:extLst>
              <a:ext uri="{FF2B5EF4-FFF2-40B4-BE49-F238E27FC236}">
                <a16:creationId xmlns:a16="http://schemas.microsoft.com/office/drawing/2014/main" id="{925AB46B-8F0B-C53C-BB96-65B38E9B563C}"/>
              </a:ext>
            </a:extLst>
          </p:cNvPr>
          <p:cNvSpPr txBox="1"/>
          <p:nvPr/>
        </p:nvSpPr>
        <p:spPr>
          <a:xfrm>
            <a:off x="2932788" y="671813"/>
            <a:ext cx="1243377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uLnTx/>
                <a:uFillTx/>
                <a:latin typeface="Arial"/>
                <a:ea typeface="+mn-ea"/>
                <a:cs typeface="+mn-cs"/>
              </a:rPr>
              <a:t>Semana 8</a:t>
            </a: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79" name="Grupo 278">
            <a:extLst>
              <a:ext uri="{FF2B5EF4-FFF2-40B4-BE49-F238E27FC236}">
                <a16:creationId xmlns:a16="http://schemas.microsoft.com/office/drawing/2014/main" id="{F3B89BCF-8E61-8221-6B52-7A022973A4AC}"/>
              </a:ext>
            </a:extLst>
          </p:cNvPr>
          <p:cNvGrpSpPr/>
          <p:nvPr/>
        </p:nvGrpSpPr>
        <p:grpSpPr>
          <a:xfrm>
            <a:off x="1290660" y="1335775"/>
            <a:ext cx="4549452" cy="2260432"/>
            <a:chOff x="1462747" y="1366222"/>
            <a:chExt cx="3992656" cy="1942693"/>
          </a:xfrm>
        </p:grpSpPr>
        <p:grpSp>
          <p:nvGrpSpPr>
            <p:cNvPr id="280" name="Grupo 279">
              <a:extLst>
                <a:ext uri="{FF2B5EF4-FFF2-40B4-BE49-F238E27FC236}">
                  <a16:creationId xmlns:a16="http://schemas.microsoft.com/office/drawing/2014/main" id="{80BAA978-F322-4555-FA10-08A9062AF33A}"/>
                </a:ext>
              </a:extLst>
            </p:cNvPr>
            <p:cNvGrpSpPr/>
            <p:nvPr/>
          </p:nvGrpSpPr>
          <p:grpSpPr>
            <a:xfrm>
              <a:off x="1654525" y="1418613"/>
              <a:ext cx="3800878" cy="1847886"/>
              <a:chOff x="330143" y="2784091"/>
              <a:chExt cx="3090294" cy="1553194"/>
            </a:xfrm>
          </p:grpSpPr>
          <p:graphicFrame>
            <p:nvGraphicFramePr>
              <p:cNvPr id="283" name="Content Placeholder 8">
                <a:extLst>
                  <a:ext uri="{FF2B5EF4-FFF2-40B4-BE49-F238E27FC236}">
                    <a16:creationId xmlns:a16="http://schemas.microsoft.com/office/drawing/2014/main" id="{CA489036-7139-A3CE-14D7-CB4A4E8DFC1A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330143" y="2784091"/>
              <a:ext cx="3090294" cy="1553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284" name="TextBox 95">
                <a:extLst>
                  <a:ext uri="{FF2B5EF4-FFF2-40B4-BE49-F238E27FC236}">
                    <a16:creationId xmlns:a16="http://schemas.microsoft.com/office/drawing/2014/main" id="{C9FD4EA6-C9EF-EA63-0A55-489312D862BA}"/>
                  </a:ext>
                </a:extLst>
              </p:cNvPr>
              <p:cNvSpPr txBox="1"/>
              <p:nvPr/>
            </p:nvSpPr>
            <p:spPr>
              <a:xfrm>
                <a:off x="356761" y="4075822"/>
                <a:ext cx="570107" cy="1982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2004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33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=290</a:t>
                </a:r>
              </a:p>
            </p:txBody>
          </p:sp>
        </p:grpSp>
        <p:sp>
          <p:nvSpPr>
            <p:cNvPr id="281" name="TextBox 25">
              <a:extLst>
                <a:ext uri="{FF2B5EF4-FFF2-40B4-BE49-F238E27FC236}">
                  <a16:creationId xmlns:a16="http://schemas.microsoft.com/office/drawing/2014/main" id="{FB84721A-6E49-AE42-8DCE-00628998FB7A}"/>
                </a:ext>
              </a:extLst>
            </p:cNvPr>
            <p:cNvSpPr txBox="1"/>
            <p:nvPr/>
          </p:nvSpPr>
          <p:spPr>
            <a:xfrm rot="16200000">
              <a:off x="721127" y="2107842"/>
              <a:ext cx="1847886" cy="3646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porción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cientes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ínicos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 la </a:t>
              </a: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mana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8</a:t>
              </a:r>
            </a:p>
          </p:txBody>
        </p:sp>
        <p:sp>
          <p:nvSpPr>
            <p:cNvPr id="282" name="Rectángulo 281">
              <a:extLst>
                <a:ext uri="{FF2B5EF4-FFF2-40B4-BE49-F238E27FC236}">
                  <a16:creationId xmlns:a16="http://schemas.microsoft.com/office/drawing/2014/main" id="{C67D677D-87E7-8157-BB5F-4A7C201804D5}"/>
                </a:ext>
              </a:extLst>
            </p:cNvPr>
            <p:cNvSpPr/>
            <p:nvPr/>
          </p:nvSpPr>
          <p:spPr>
            <a:xfrm>
              <a:off x="2223921" y="1460001"/>
              <a:ext cx="1014249" cy="184891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85" name="Marcador de texto 1">
            <a:extLst>
              <a:ext uri="{FF2B5EF4-FFF2-40B4-BE49-F238E27FC236}">
                <a16:creationId xmlns:a16="http://schemas.microsoft.com/office/drawing/2014/main" id="{373F4700-FDD5-6A3F-39EB-08EE351E5757}"/>
              </a:ext>
            </a:extLst>
          </p:cNvPr>
          <p:cNvSpPr txBox="1">
            <a:spLocks/>
          </p:cNvSpPr>
          <p:nvPr/>
        </p:nvSpPr>
        <p:spPr>
          <a:xfrm>
            <a:off x="33679" y="13292"/>
            <a:ext cx="9747530" cy="40782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8C93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EPQ –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Apariencia general tras tratamiento con tirbanibulina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+mn-cs"/>
            </a:endParaRPr>
          </a:p>
        </p:txBody>
      </p:sp>
      <p:grpSp>
        <p:nvGrpSpPr>
          <p:cNvPr id="287" name="Group 33">
            <a:extLst>
              <a:ext uri="{FF2B5EF4-FFF2-40B4-BE49-F238E27FC236}">
                <a16:creationId xmlns:a16="http://schemas.microsoft.com/office/drawing/2014/main" id="{3B3DDC7C-6261-86EF-85F7-848629C377ED}"/>
              </a:ext>
            </a:extLst>
          </p:cNvPr>
          <p:cNvGrpSpPr/>
          <p:nvPr/>
        </p:nvGrpSpPr>
        <p:grpSpPr>
          <a:xfrm>
            <a:off x="571430" y="4529448"/>
            <a:ext cx="5910941" cy="904371"/>
            <a:chOff x="759921" y="5626077"/>
            <a:chExt cx="15942442" cy="3636000"/>
          </a:xfrm>
        </p:grpSpPr>
        <p:graphicFrame>
          <p:nvGraphicFramePr>
            <p:cNvPr id="288" name="Chart 31">
              <a:extLst>
                <a:ext uri="{FF2B5EF4-FFF2-40B4-BE49-F238E27FC236}">
                  <a16:creationId xmlns:a16="http://schemas.microsoft.com/office/drawing/2014/main" id="{0816C486-F8E1-B320-13D0-70BB7D411613}"/>
                </a:ext>
              </a:extLst>
            </p:cNvPr>
            <p:cNvGraphicFramePr/>
            <p:nvPr/>
          </p:nvGraphicFramePr>
          <p:xfrm>
            <a:off x="759921" y="5626077"/>
            <a:ext cx="15942442" cy="3636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289" name="TextBox 32">
              <a:extLst>
                <a:ext uri="{FF2B5EF4-FFF2-40B4-BE49-F238E27FC236}">
                  <a16:creationId xmlns:a16="http://schemas.microsoft.com/office/drawing/2014/main" id="{A7A096B4-18FE-D50C-9473-9562F5336B08}"/>
                </a:ext>
              </a:extLst>
            </p:cNvPr>
            <p:cNvSpPr txBox="1"/>
            <p:nvPr/>
          </p:nvSpPr>
          <p:spPr>
            <a:xfrm>
              <a:off x="835200" y="8442351"/>
              <a:ext cx="1674499" cy="747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=205</a:t>
              </a:r>
            </a:p>
          </p:txBody>
        </p:sp>
      </p:grpSp>
      <p:sp>
        <p:nvSpPr>
          <p:cNvPr id="291" name="Rectángulo 290">
            <a:extLst>
              <a:ext uri="{FF2B5EF4-FFF2-40B4-BE49-F238E27FC236}">
                <a16:creationId xmlns:a16="http://schemas.microsoft.com/office/drawing/2014/main" id="{8FA56498-4687-C21A-5BAF-FEFF5B6BAF79}"/>
              </a:ext>
            </a:extLst>
          </p:cNvPr>
          <p:cNvSpPr/>
          <p:nvPr/>
        </p:nvSpPr>
        <p:spPr>
          <a:xfrm>
            <a:off x="571430" y="4559322"/>
            <a:ext cx="3767586" cy="62567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2" name="CuadroTexto 291">
            <a:extLst>
              <a:ext uri="{FF2B5EF4-FFF2-40B4-BE49-F238E27FC236}">
                <a16:creationId xmlns:a16="http://schemas.microsoft.com/office/drawing/2014/main" id="{F5FE0EF2-1A7D-5CE0-F685-9E40DFEEAD5A}"/>
              </a:ext>
            </a:extLst>
          </p:cNvPr>
          <p:cNvSpPr txBox="1"/>
          <p:nvPr/>
        </p:nvSpPr>
        <p:spPr>
          <a:xfrm>
            <a:off x="8974238" y="671813"/>
            <a:ext cx="12433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ana 24</a:t>
            </a:r>
            <a:endParaRPr kumimoji="0" lang="es-ES" sz="1400" b="0" i="0" u="none" strike="noStrike" kern="1200" cap="none" spc="0" normalizeH="0" baseline="3000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93" name="Grupo 292">
            <a:extLst>
              <a:ext uri="{FF2B5EF4-FFF2-40B4-BE49-F238E27FC236}">
                <a16:creationId xmlns:a16="http://schemas.microsoft.com/office/drawing/2014/main" id="{0035DD7E-326B-2CF6-BA3F-FE829C5912E8}"/>
              </a:ext>
            </a:extLst>
          </p:cNvPr>
          <p:cNvGrpSpPr/>
          <p:nvPr/>
        </p:nvGrpSpPr>
        <p:grpSpPr>
          <a:xfrm>
            <a:off x="7038032" y="1189698"/>
            <a:ext cx="4774350" cy="2783235"/>
            <a:chOff x="7109714" y="1155421"/>
            <a:chExt cx="3910997" cy="1847886"/>
          </a:xfrm>
        </p:grpSpPr>
        <p:grpSp>
          <p:nvGrpSpPr>
            <p:cNvPr id="294" name="Grupo 293">
              <a:extLst>
                <a:ext uri="{FF2B5EF4-FFF2-40B4-BE49-F238E27FC236}">
                  <a16:creationId xmlns:a16="http://schemas.microsoft.com/office/drawing/2014/main" id="{86AFEF3D-4F1C-7589-2A33-FF2D1520C1C4}"/>
                </a:ext>
              </a:extLst>
            </p:cNvPr>
            <p:cNvGrpSpPr/>
            <p:nvPr/>
          </p:nvGrpSpPr>
          <p:grpSpPr>
            <a:xfrm>
              <a:off x="7218342" y="1155421"/>
              <a:ext cx="3802369" cy="1847886"/>
              <a:chOff x="3648126" y="2754725"/>
              <a:chExt cx="3090294" cy="1553194"/>
            </a:xfrm>
          </p:grpSpPr>
          <p:graphicFrame>
            <p:nvGraphicFramePr>
              <p:cNvPr id="297" name="Content Placeholder 8">
                <a:extLst>
                  <a:ext uri="{FF2B5EF4-FFF2-40B4-BE49-F238E27FC236}">
                    <a16:creationId xmlns:a16="http://schemas.microsoft.com/office/drawing/2014/main" id="{98D3E41B-98CD-00A1-E426-B44A04AC9E4E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3648126" y="2754725"/>
              <a:ext cx="3090294" cy="1553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sp>
            <p:nvSpPr>
              <p:cNvPr id="298" name="TextBox 95">
                <a:extLst>
                  <a:ext uri="{FF2B5EF4-FFF2-40B4-BE49-F238E27FC236}">
                    <a16:creationId xmlns:a16="http://schemas.microsoft.com/office/drawing/2014/main" id="{09005775-D68B-00C8-9DD0-F8371DD29A98}"/>
                  </a:ext>
                </a:extLst>
              </p:cNvPr>
              <p:cNvSpPr txBox="1"/>
              <p:nvPr/>
            </p:nvSpPr>
            <p:spPr>
              <a:xfrm>
                <a:off x="3794871" y="4067960"/>
                <a:ext cx="570107" cy="1769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122004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33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=274</a:t>
                </a:r>
              </a:p>
            </p:txBody>
          </p:sp>
        </p:grpSp>
        <p:sp>
          <p:nvSpPr>
            <p:cNvPr id="295" name="TextBox 25">
              <a:extLst>
                <a:ext uri="{FF2B5EF4-FFF2-40B4-BE49-F238E27FC236}">
                  <a16:creationId xmlns:a16="http://schemas.microsoft.com/office/drawing/2014/main" id="{E74943B2-67D2-4FEC-0D2E-DC759A636EC4}"/>
                </a:ext>
              </a:extLst>
            </p:cNvPr>
            <p:cNvSpPr txBox="1"/>
            <p:nvPr/>
          </p:nvSpPr>
          <p:spPr>
            <a:xfrm rot="16200000">
              <a:off x="6529464" y="1907164"/>
              <a:ext cx="1500863" cy="3403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porción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cientes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ínicos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 la </a:t>
              </a:r>
              <a:r>
                <a:rPr kumimoji="0" lang="en-US" sz="105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mana</a:t>
              </a: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24</a:t>
              </a:r>
            </a:p>
          </p:txBody>
        </p:sp>
        <p:sp>
          <p:nvSpPr>
            <p:cNvPr id="296" name="Rectángulo 295">
              <a:extLst>
                <a:ext uri="{FF2B5EF4-FFF2-40B4-BE49-F238E27FC236}">
                  <a16:creationId xmlns:a16="http://schemas.microsoft.com/office/drawing/2014/main" id="{3DCC2CB9-A264-B35E-8312-D06C134BD7DF}"/>
                </a:ext>
              </a:extLst>
            </p:cNvPr>
            <p:cNvSpPr/>
            <p:nvPr/>
          </p:nvSpPr>
          <p:spPr>
            <a:xfrm>
              <a:off x="7816768" y="1344260"/>
              <a:ext cx="1008993" cy="159821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9" name="Grupo 298">
            <a:extLst>
              <a:ext uri="{FF2B5EF4-FFF2-40B4-BE49-F238E27FC236}">
                <a16:creationId xmlns:a16="http://schemas.microsoft.com/office/drawing/2014/main" id="{4035ED4B-4EBE-5989-15E7-3D57D35D3BA7}"/>
              </a:ext>
            </a:extLst>
          </p:cNvPr>
          <p:cNvGrpSpPr/>
          <p:nvPr/>
        </p:nvGrpSpPr>
        <p:grpSpPr>
          <a:xfrm>
            <a:off x="7534293" y="4207922"/>
            <a:ext cx="3988916" cy="1591856"/>
            <a:chOff x="7511143" y="3721824"/>
            <a:chExt cx="3988916" cy="2116238"/>
          </a:xfrm>
        </p:grpSpPr>
        <p:sp>
          <p:nvSpPr>
            <p:cNvPr id="300" name="Rectángulo 299">
              <a:extLst>
                <a:ext uri="{FF2B5EF4-FFF2-40B4-BE49-F238E27FC236}">
                  <a16:creationId xmlns:a16="http://schemas.microsoft.com/office/drawing/2014/main" id="{60BDA80B-DC97-970A-B7CA-56776B95192B}"/>
                </a:ext>
              </a:extLst>
            </p:cNvPr>
            <p:cNvSpPr/>
            <p:nvPr/>
          </p:nvSpPr>
          <p:spPr>
            <a:xfrm>
              <a:off x="7511143" y="3721824"/>
              <a:ext cx="3988916" cy="2116238"/>
            </a:xfrm>
            <a:prstGeom prst="rect">
              <a:avLst/>
            </a:prstGeom>
            <a:solidFill>
              <a:srgbClr val="FFCCCC">
                <a:alpha val="36863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1" name="CuadroTexto 300">
              <a:extLst>
                <a:ext uri="{FF2B5EF4-FFF2-40B4-BE49-F238E27FC236}">
                  <a16:creationId xmlns:a16="http://schemas.microsoft.com/office/drawing/2014/main" id="{3882AFB4-62A9-B94C-BD9B-E72A3F613D04}"/>
                </a:ext>
              </a:extLst>
            </p:cNvPr>
            <p:cNvSpPr txBox="1"/>
            <p:nvPr/>
          </p:nvSpPr>
          <p:spPr>
            <a:xfrm>
              <a:off x="7679887" y="3816404"/>
              <a:ext cx="3646714" cy="1844899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Arial"/>
                  <a:ea typeface="+mn-ea"/>
                  <a:cs typeface="+mn-cs"/>
                </a:rPr>
                <a:t>Más del </a:t>
              </a:r>
              <a:r>
                <a:rPr kumimoji="0" lang="es-ES" sz="18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Arial"/>
                  <a:ea typeface="+mn-ea"/>
                  <a:cs typeface="+mn-cs"/>
                </a:rPr>
                <a:t>91%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Arial"/>
                  <a:ea typeface="+mn-ea"/>
                  <a:cs typeface="+mn-cs"/>
                </a:rPr>
                <a:t>de los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Arial"/>
                  <a:ea typeface="+mn-ea"/>
                  <a:cs typeface="+mn-cs"/>
                </a:rPr>
                <a:t>médicos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Arial"/>
                  <a:ea typeface="+mn-ea"/>
                  <a:cs typeface="+mn-cs"/>
                </a:rPr>
                <a:t>y del </a:t>
              </a:r>
              <a:r>
                <a:rPr kumimoji="0" lang="es-ES" sz="18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Arial"/>
                  <a:ea typeface="+mn-ea"/>
                  <a:cs typeface="+mn-cs"/>
                </a:rPr>
                <a:t>84%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Arial"/>
                  <a:ea typeface="+mn-ea"/>
                  <a:cs typeface="+mn-cs"/>
                </a:rPr>
                <a:t>de los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Arial"/>
                  <a:ea typeface="+mn-ea"/>
                  <a:cs typeface="+mn-cs"/>
                </a:rPr>
                <a:t>pacientes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Arial"/>
                  <a:ea typeface="+mn-ea"/>
                  <a:cs typeface="+mn-cs"/>
                </a:rPr>
                <a:t>calificaron la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Arial"/>
                  <a:ea typeface="+mn-ea"/>
                  <a:cs typeface="+mn-cs"/>
                </a:rPr>
                <a:t>apariencia general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Arial"/>
                  <a:ea typeface="+mn-ea"/>
                  <a:cs typeface="+mn-cs"/>
                </a:rPr>
                <a:t>de la piel como </a:t>
              </a:r>
              <a:r>
                <a: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Arial"/>
                  <a:ea typeface="+mn-ea"/>
                  <a:cs typeface="+mn-cs"/>
                </a:rPr>
                <a:t>mucho/algo mejorada </a:t>
              </a:r>
              <a:r>
                <a:rPr kumimoji="0" lang="es-ES" sz="1200" b="0" i="0" u="sng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uLnTx/>
                  <a:uFillTx/>
                  <a:latin typeface="Arial"/>
                  <a:ea typeface="+mn-ea"/>
                  <a:cs typeface="+mn-cs"/>
                </a:rPr>
                <a:t>en la semana 8</a:t>
              </a:r>
              <a:r>
                <a:rPr kumimoji="0" lang="es-ES" sz="1200" b="0" i="0" u="sng" strike="noStrike" kern="120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s-ES" sz="1200" b="0" i="0" u="sng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uLnTx/>
                  <a:uFillTx/>
                  <a:latin typeface="Arial"/>
                  <a:ea typeface="+mn-ea"/>
                  <a:cs typeface="+mn-cs"/>
                </a:rPr>
                <a:t> y se mantuvo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uLnTx/>
                  <a:uFillTx/>
                  <a:latin typeface="Arial"/>
                  <a:ea typeface="+mn-ea"/>
                  <a:cs typeface="+mn-cs"/>
                </a:rPr>
                <a:t>en el PROAK en un 85 y 78 % respectivamente </a:t>
              </a:r>
              <a:r>
                <a:rPr kumimoji="0" lang="es-ES" sz="1200" b="0" i="0" u="sng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uLnTx/>
                  <a:uFillTx/>
                  <a:latin typeface="Arial"/>
                  <a:ea typeface="+mn-ea"/>
                  <a:cs typeface="+mn-cs"/>
                </a:rPr>
                <a:t>hasta la semana 24</a:t>
              </a:r>
              <a:r>
                <a:rPr kumimoji="0" lang="es-ES" sz="1200" b="0" i="0" u="sng" strike="noStrike" kern="120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  <a:r>
                <a:rPr kumimoji="0" lang="es-ES" sz="1200" b="0" i="0" u="sng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uLnTx/>
                  <a:uFillTx/>
                  <a:latin typeface="Arial"/>
                  <a:ea typeface="+mn-ea"/>
                  <a:cs typeface="+mn-cs"/>
                </a:rPr>
                <a:t>.</a:t>
              </a:r>
              <a:endParaRPr kumimoji="0" lang="es-ES" sz="1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07" name="Grupo 306">
            <a:extLst>
              <a:ext uri="{FF2B5EF4-FFF2-40B4-BE49-F238E27FC236}">
                <a16:creationId xmlns:a16="http://schemas.microsoft.com/office/drawing/2014/main" id="{89B7E6C9-63C1-83FA-53FB-1A990BFECA93}"/>
              </a:ext>
            </a:extLst>
          </p:cNvPr>
          <p:cNvGrpSpPr/>
          <p:nvPr/>
        </p:nvGrpSpPr>
        <p:grpSpPr>
          <a:xfrm>
            <a:off x="2205257" y="3147223"/>
            <a:ext cx="3514355" cy="268307"/>
            <a:chOff x="2192872" y="3241462"/>
            <a:chExt cx="3235285" cy="527223"/>
          </a:xfrm>
        </p:grpSpPr>
        <p:sp>
          <p:nvSpPr>
            <p:cNvPr id="308" name="CuadroTexto 307">
              <a:extLst>
                <a:ext uri="{FF2B5EF4-FFF2-40B4-BE49-F238E27FC236}">
                  <a16:creationId xmlns:a16="http://schemas.microsoft.com/office/drawing/2014/main" id="{AABCC37E-8847-411C-A154-41B171E82957}"/>
                </a:ext>
              </a:extLst>
            </p:cNvPr>
            <p:cNvSpPr txBox="1"/>
            <p:nvPr/>
          </p:nvSpPr>
          <p:spPr>
            <a:xfrm>
              <a:off x="2192872" y="3241462"/>
              <a:ext cx="1052102" cy="5272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cho/Algo mejor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9" name="CuadroTexto 308">
              <a:extLst>
                <a:ext uri="{FF2B5EF4-FFF2-40B4-BE49-F238E27FC236}">
                  <a16:creationId xmlns:a16="http://schemas.microsoft.com/office/drawing/2014/main" id="{B3A37831-7351-1825-AF51-741170B4854D}"/>
                </a:ext>
              </a:extLst>
            </p:cNvPr>
            <p:cNvSpPr txBox="1"/>
            <p:nvPr/>
          </p:nvSpPr>
          <p:spPr>
            <a:xfrm>
              <a:off x="3189913" y="3262662"/>
              <a:ext cx="1177880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 cambio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0" name="CuadroTexto 309">
              <a:extLst>
                <a:ext uri="{FF2B5EF4-FFF2-40B4-BE49-F238E27FC236}">
                  <a16:creationId xmlns:a16="http://schemas.microsoft.com/office/drawing/2014/main" id="{2D6FF504-33D8-D6D2-4448-2AF98D492042}"/>
                </a:ext>
              </a:extLst>
            </p:cNvPr>
            <p:cNvSpPr txBox="1"/>
            <p:nvPr/>
          </p:nvSpPr>
          <p:spPr>
            <a:xfrm>
              <a:off x="4250277" y="3259135"/>
              <a:ext cx="1177880" cy="4989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cho/Algo peor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1" name="Grupo 310">
            <a:extLst>
              <a:ext uri="{FF2B5EF4-FFF2-40B4-BE49-F238E27FC236}">
                <a16:creationId xmlns:a16="http://schemas.microsoft.com/office/drawing/2014/main" id="{FFAFF620-00DB-0D89-D00A-81EC102D076C}"/>
              </a:ext>
            </a:extLst>
          </p:cNvPr>
          <p:cNvGrpSpPr/>
          <p:nvPr/>
        </p:nvGrpSpPr>
        <p:grpSpPr>
          <a:xfrm>
            <a:off x="7990662" y="3415530"/>
            <a:ext cx="3514355" cy="268307"/>
            <a:chOff x="2192872" y="3241462"/>
            <a:chExt cx="3235285" cy="527223"/>
          </a:xfrm>
        </p:grpSpPr>
        <p:sp>
          <p:nvSpPr>
            <p:cNvPr id="312" name="CuadroTexto 311">
              <a:extLst>
                <a:ext uri="{FF2B5EF4-FFF2-40B4-BE49-F238E27FC236}">
                  <a16:creationId xmlns:a16="http://schemas.microsoft.com/office/drawing/2014/main" id="{1CCD5114-B8FF-86BD-92D2-3E01C252F594}"/>
                </a:ext>
              </a:extLst>
            </p:cNvPr>
            <p:cNvSpPr txBox="1"/>
            <p:nvPr/>
          </p:nvSpPr>
          <p:spPr>
            <a:xfrm>
              <a:off x="2192872" y="3241462"/>
              <a:ext cx="1052102" cy="5272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cho/Algo mejor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3" name="CuadroTexto 312">
              <a:extLst>
                <a:ext uri="{FF2B5EF4-FFF2-40B4-BE49-F238E27FC236}">
                  <a16:creationId xmlns:a16="http://schemas.microsoft.com/office/drawing/2014/main" id="{DDAF5C90-6A01-F498-E5C8-045F88D990A3}"/>
                </a:ext>
              </a:extLst>
            </p:cNvPr>
            <p:cNvSpPr txBox="1"/>
            <p:nvPr/>
          </p:nvSpPr>
          <p:spPr>
            <a:xfrm>
              <a:off x="3189913" y="3262662"/>
              <a:ext cx="1177880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 cambio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4" name="CuadroTexto 313">
              <a:extLst>
                <a:ext uri="{FF2B5EF4-FFF2-40B4-BE49-F238E27FC236}">
                  <a16:creationId xmlns:a16="http://schemas.microsoft.com/office/drawing/2014/main" id="{4C30AA06-1895-8A2F-DF5F-287927A618BA}"/>
                </a:ext>
              </a:extLst>
            </p:cNvPr>
            <p:cNvSpPr txBox="1"/>
            <p:nvPr/>
          </p:nvSpPr>
          <p:spPr>
            <a:xfrm>
              <a:off x="4250277" y="3259135"/>
              <a:ext cx="1177880" cy="4989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cho/Algo peor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5" name="Grupo 314">
            <a:extLst>
              <a:ext uri="{FF2B5EF4-FFF2-40B4-BE49-F238E27FC236}">
                <a16:creationId xmlns:a16="http://schemas.microsoft.com/office/drawing/2014/main" id="{2C6A00C3-942A-3BA1-E52E-D470160079D8}"/>
              </a:ext>
            </a:extLst>
          </p:cNvPr>
          <p:cNvGrpSpPr/>
          <p:nvPr/>
        </p:nvGrpSpPr>
        <p:grpSpPr>
          <a:xfrm>
            <a:off x="5416700" y="4547277"/>
            <a:ext cx="1238938" cy="732797"/>
            <a:chOff x="5416700" y="4545259"/>
            <a:chExt cx="1238938" cy="732797"/>
          </a:xfrm>
        </p:grpSpPr>
        <p:sp>
          <p:nvSpPr>
            <p:cNvPr id="316" name="Rectángulo 315">
              <a:extLst>
                <a:ext uri="{FF2B5EF4-FFF2-40B4-BE49-F238E27FC236}">
                  <a16:creationId xmlns:a16="http://schemas.microsoft.com/office/drawing/2014/main" id="{03A470EC-88B0-41A3-2DFD-23F773DDADE7}"/>
                </a:ext>
              </a:extLst>
            </p:cNvPr>
            <p:cNvSpPr/>
            <p:nvPr/>
          </p:nvSpPr>
          <p:spPr>
            <a:xfrm>
              <a:off x="5594841" y="4583573"/>
              <a:ext cx="829108" cy="69448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7" name="CuadroTexto 316">
              <a:extLst>
                <a:ext uri="{FF2B5EF4-FFF2-40B4-BE49-F238E27FC236}">
                  <a16:creationId xmlns:a16="http://schemas.microsoft.com/office/drawing/2014/main" id="{C157EA2C-7323-AA57-8D0A-8E563B336068}"/>
                </a:ext>
              </a:extLst>
            </p:cNvPr>
            <p:cNvSpPr txBox="1"/>
            <p:nvPr/>
          </p:nvSpPr>
          <p:spPr>
            <a:xfrm>
              <a:off x="5524678" y="4545259"/>
              <a:ext cx="1126437" cy="1981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86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cho/Algo mejor</a:t>
              </a:r>
              <a:endParaRPr kumimoji="0" lang="es-ES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8" name="CuadroTexto 317">
              <a:extLst>
                <a:ext uri="{FF2B5EF4-FFF2-40B4-BE49-F238E27FC236}">
                  <a16:creationId xmlns:a16="http://schemas.microsoft.com/office/drawing/2014/main" id="{AA087F25-DD7B-E889-D598-14DB73AEC844}"/>
                </a:ext>
              </a:extLst>
            </p:cNvPr>
            <p:cNvSpPr txBox="1"/>
            <p:nvPr/>
          </p:nvSpPr>
          <p:spPr>
            <a:xfrm>
              <a:off x="5513269" y="4752820"/>
              <a:ext cx="798556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86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 cambio</a:t>
              </a:r>
              <a:endParaRPr kumimoji="0" lang="es-ES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9" name="CuadroTexto 318">
              <a:extLst>
                <a:ext uri="{FF2B5EF4-FFF2-40B4-BE49-F238E27FC236}">
                  <a16:creationId xmlns:a16="http://schemas.microsoft.com/office/drawing/2014/main" id="{2BCEE757-7125-819E-D6B8-89E2B83B2B0C}"/>
                </a:ext>
              </a:extLst>
            </p:cNvPr>
            <p:cNvSpPr txBox="1"/>
            <p:nvPr/>
          </p:nvSpPr>
          <p:spPr>
            <a:xfrm>
              <a:off x="5416700" y="5015978"/>
              <a:ext cx="123893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86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cho/algo peor</a:t>
              </a:r>
              <a:endParaRPr kumimoji="0" lang="es-ES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20" name="Rectángulo 319">
            <a:extLst>
              <a:ext uri="{FF2B5EF4-FFF2-40B4-BE49-F238E27FC236}">
                <a16:creationId xmlns:a16="http://schemas.microsoft.com/office/drawing/2014/main" id="{99113952-CC59-BB84-49C4-DD4A3B1F6684}"/>
              </a:ext>
            </a:extLst>
          </p:cNvPr>
          <p:cNvSpPr/>
          <p:nvPr/>
        </p:nvSpPr>
        <p:spPr>
          <a:xfrm>
            <a:off x="4234040" y="1387370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1" name="Rectángulo 320">
            <a:extLst>
              <a:ext uri="{FF2B5EF4-FFF2-40B4-BE49-F238E27FC236}">
                <a16:creationId xmlns:a16="http://schemas.microsoft.com/office/drawing/2014/main" id="{63B16D40-E677-8DE0-3FB7-091D08C11B93}"/>
              </a:ext>
            </a:extLst>
          </p:cNvPr>
          <p:cNvSpPr/>
          <p:nvPr/>
        </p:nvSpPr>
        <p:spPr>
          <a:xfrm>
            <a:off x="5131307" y="1401254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2" name="CuadroTexto 321">
            <a:extLst>
              <a:ext uri="{FF2B5EF4-FFF2-40B4-BE49-F238E27FC236}">
                <a16:creationId xmlns:a16="http://schemas.microsoft.com/office/drawing/2014/main" id="{C529747D-9CD6-3184-2903-270977BFF3EA}"/>
              </a:ext>
            </a:extLst>
          </p:cNvPr>
          <p:cNvSpPr txBox="1"/>
          <p:nvPr/>
        </p:nvSpPr>
        <p:spPr>
          <a:xfrm>
            <a:off x="4110885" y="1364683"/>
            <a:ext cx="7722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ínico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3" name="CuadroTexto 322">
            <a:extLst>
              <a:ext uri="{FF2B5EF4-FFF2-40B4-BE49-F238E27FC236}">
                <a16:creationId xmlns:a16="http://schemas.microsoft.com/office/drawing/2014/main" id="{D261095C-1AC7-C4DD-4611-430992BF4AF7}"/>
              </a:ext>
            </a:extLst>
          </p:cNvPr>
          <p:cNvSpPr txBox="1"/>
          <p:nvPr/>
        </p:nvSpPr>
        <p:spPr>
          <a:xfrm>
            <a:off x="5028092" y="1368986"/>
            <a:ext cx="86740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24" name="Grupo 323">
            <a:extLst>
              <a:ext uri="{FF2B5EF4-FFF2-40B4-BE49-F238E27FC236}">
                <a16:creationId xmlns:a16="http://schemas.microsoft.com/office/drawing/2014/main" id="{9B9CCDD2-16DB-BDAA-D9B3-DD9D4DF0AD15}"/>
              </a:ext>
            </a:extLst>
          </p:cNvPr>
          <p:cNvGrpSpPr/>
          <p:nvPr/>
        </p:nvGrpSpPr>
        <p:grpSpPr>
          <a:xfrm>
            <a:off x="10066072" y="1219559"/>
            <a:ext cx="1823153" cy="282147"/>
            <a:chOff x="10066072" y="1217541"/>
            <a:chExt cx="1823153" cy="282147"/>
          </a:xfrm>
        </p:grpSpPr>
        <p:sp>
          <p:nvSpPr>
            <p:cNvPr id="325" name="Rectángulo 324">
              <a:extLst>
                <a:ext uri="{FF2B5EF4-FFF2-40B4-BE49-F238E27FC236}">
                  <a16:creationId xmlns:a16="http://schemas.microsoft.com/office/drawing/2014/main" id="{01D8CB8E-5202-6E60-B381-88BAF7D2AF59}"/>
                </a:ext>
              </a:extLst>
            </p:cNvPr>
            <p:cNvSpPr/>
            <p:nvPr/>
          </p:nvSpPr>
          <p:spPr>
            <a:xfrm>
              <a:off x="10192471" y="1217541"/>
              <a:ext cx="638903" cy="2114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6" name="Rectángulo 325">
              <a:extLst>
                <a:ext uri="{FF2B5EF4-FFF2-40B4-BE49-F238E27FC236}">
                  <a16:creationId xmlns:a16="http://schemas.microsoft.com/office/drawing/2014/main" id="{BBB21EF7-3968-3D8C-16E6-9A67BB75939E}"/>
                </a:ext>
              </a:extLst>
            </p:cNvPr>
            <p:cNvSpPr/>
            <p:nvPr/>
          </p:nvSpPr>
          <p:spPr>
            <a:xfrm>
              <a:off x="11098882" y="1231425"/>
              <a:ext cx="638903" cy="2114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7" name="CuadroTexto 326">
              <a:extLst>
                <a:ext uri="{FF2B5EF4-FFF2-40B4-BE49-F238E27FC236}">
                  <a16:creationId xmlns:a16="http://schemas.microsoft.com/office/drawing/2014/main" id="{6DEDDF74-9C5C-A3C8-54DA-05BFA5455B6A}"/>
                </a:ext>
              </a:extLst>
            </p:cNvPr>
            <p:cNvSpPr txBox="1"/>
            <p:nvPr/>
          </p:nvSpPr>
          <p:spPr>
            <a:xfrm>
              <a:off x="10066072" y="1222689"/>
              <a:ext cx="772218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ínicos</a:t>
              </a:r>
              <a:endPara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8" name="CuadroTexto 327">
              <a:extLst>
                <a:ext uri="{FF2B5EF4-FFF2-40B4-BE49-F238E27FC236}">
                  <a16:creationId xmlns:a16="http://schemas.microsoft.com/office/drawing/2014/main" id="{874E20F0-420A-8727-992C-37F15A6EF0B2}"/>
                </a:ext>
              </a:extLst>
            </p:cNvPr>
            <p:cNvSpPr txBox="1"/>
            <p:nvPr/>
          </p:nvSpPr>
          <p:spPr>
            <a:xfrm>
              <a:off x="11021823" y="1219906"/>
              <a:ext cx="867402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cientes</a:t>
              </a:r>
              <a:endPara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29" name="CuadroTexto 328">
            <a:extLst>
              <a:ext uri="{FF2B5EF4-FFF2-40B4-BE49-F238E27FC236}">
                <a16:creationId xmlns:a16="http://schemas.microsoft.com/office/drawing/2014/main" id="{A1F2A975-9E37-DB26-3BC3-72EAC0648C60}"/>
              </a:ext>
            </a:extLst>
          </p:cNvPr>
          <p:cNvSpPr txBox="1"/>
          <p:nvPr/>
        </p:nvSpPr>
        <p:spPr>
          <a:xfrm>
            <a:off x="623275" y="4580329"/>
            <a:ext cx="74501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ínico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0" name="CuadroTexto 329">
            <a:extLst>
              <a:ext uri="{FF2B5EF4-FFF2-40B4-BE49-F238E27FC236}">
                <a16:creationId xmlns:a16="http://schemas.microsoft.com/office/drawing/2014/main" id="{1FB45048-98C8-C155-6391-142E9C405FCC}"/>
              </a:ext>
            </a:extLst>
          </p:cNvPr>
          <p:cNvSpPr txBox="1"/>
          <p:nvPr/>
        </p:nvSpPr>
        <p:spPr>
          <a:xfrm>
            <a:off x="553621" y="4932832"/>
            <a:ext cx="867402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4" name="CuadroTexto 333">
            <a:extLst>
              <a:ext uri="{FF2B5EF4-FFF2-40B4-BE49-F238E27FC236}">
                <a16:creationId xmlns:a16="http://schemas.microsoft.com/office/drawing/2014/main" id="{A36A1DF9-48A4-FCF0-3C4E-B8D2F2D49EB0}"/>
              </a:ext>
            </a:extLst>
          </p:cNvPr>
          <p:cNvSpPr txBox="1"/>
          <p:nvPr/>
        </p:nvSpPr>
        <p:spPr>
          <a:xfrm>
            <a:off x="500596" y="1024911"/>
            <a:ext cx="1730676" cy="338554"/>
          </a:xfrm>
          <a:prstGeom prst="rect">
            <a:avLst/>
          </a:prstGeom>
          <a:solidFill>
            <a:srgbClr val="002855">
              <a:lumMod val="10000"/>
              <a:lumOff val="9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Estudio PROAK</a:t>
            </a:r>
            <a:r>
              <a:rPr kumimoji="0" lang="es-ES_tradnl" sz="1600" b="0" i="0" u="none" strike="noStrike" kern="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1</a:t>
            </a:r>
            <a:endParaRPr kumimoji="0" lang="es-ES" sz="1600" b="0" i="0" u="none" strike="noStrike" kern="0" cap="none" spc="0" normalizeH="0" baseline="3000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335" name="CuadroTexto 334">
            <a:extLst>
              <a:ext uri="{FF2B5EF4-FFF2-40B4-BE49-F238E27FC236}">
                <a16:creationId xmlns:a16="http://schemas.microsoft.com/office/drawing/2014/main" id="{5C103907-F741-C3EF-1DB0-85F467382F8D}"/>
              </a:ext>
            </a:extLst>
          </p:cNvPr>
          <p:cNvSpPr txBox="1"/>
          <p:nvPr/>
        </p:nvSpPr>
        <p:spPr>
          <a:xfrm>
            <a:off x="448539" y="3908488"/>
            <a:ext cx="1873048" cy="338554"/>
          </a:xfrm>
          <a:prstGeom prst="rect">
            <a:avLst/>
          </a:prstGeom>
          <a:solidFill>
            <a:srgbClr val="002855">
              <a:lumMod val="10000"/>
              <a:lumOff val="9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Estudio TirbaSkin</a:t>
            </a:r>
            <a:r>
              <a:rPr kumimoji="0" lang="es-ES_tradnl" sz="1600" b="0" i="0" u="none" strike="noStrike" kern="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3</a:t>
            </a:r>
            <a:endParaRPr kumimoji="0" lang="es-ES" sz="1600" b="0" i="0" u="none" strike="noStrike" kern="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336" name="CuadroTexto 335">
            <a:extLst>
              <a:ext uri="{FF2B5EF4-FFF2-40B4-BE49-F238E27FC236}">
                <a16:creationId xmlns:a16="http://schemas.microsoft.com/office/drawing/2014/main" id="{4BBAFAA6-F6FB-0AE9-CA0E-A7724E0D5228}"/>
              </a:ext>
            </a:extLst>
          </p:cNvPr>
          <p:cNvSpPr txBox="1"/>
          <p:nvPr/>
        </p:nvSpPr>
        <p:spPr>
          <a:xfrm>
            <a:off x="6671541" y="1002979"/>
            <a:ext cx="1916874" cy="338554"/>
          </a:xfrm>
          <a:prstGeom prst="rect">
            <a:avLst/>
          </a:prstGeom>
          <a:solidFill>
            <a:srgbClr val="002855">
              <a:lumMod val="10000"/>
              <a:lumOff val="9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Estudio PROAK</a:t>
            </a:r>
            <a:r>
              <a:rPr kumimoji="0" lang="es-ES_tradnl" sz="1600" b="0" i="0" u="none" strike="noStrike" kern="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</a:rPr>
              <a:t>2</a:t>
            </a:r>
            <a:endParaRPr kumimoji="0" lang="es-ES" sz="1600" b="0" i="0" u="none" strike="noStrike" kern="0" cap="none" spc="0" normalizeH="0" baseline="3000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0807989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289E218D-AAA3-2188-0E4C-1EC90235E031}"/>
              </a:ext>
            </a:extLst>
          </p:cNvPr>
          <p:cNvSpPr/>
          <p:nvPr/>
        </p:nvSpPr>
        <p:spPr>
          <a:xfrm>
            <a:off x="2230988" y="6399482"/>
            <a:ext cx="80649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Steeb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T, et al.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Treatment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Motivation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and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Expectation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in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Patient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nic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ratosi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A German-Wide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center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ross-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tional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ial. J Clin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20 May 12;9(5)</a:t>
            </a:r>
            <a:endParaRPr lang="en-US" sz="80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77"/>
            <a:r>
              <a:rPr lang="es-ES_tradnl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5" name="Grafik 3" descr="Ein Bild, das Diagramm, Reihe, Screenshot, parallel enthält.&#10;&#10;Automatisch generierte Beschreibung">
            <a:extLst>
              <a:ext uri="{FF2B5EF4-FFF2-40B4-BE49-F238E27FC236}">
                <a16:creationId xmlns:a16="http://schemas.microsoft.com/office/drawing/2014/main" id="{00784439-8AE6-E52C-FDC2-59E52601FF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858" t="4455" r="1409"/>
          <a:stretch/>
        </p:blipFill>
        <p:spPr>
          <a:xfrm>
            <a:off x="1700377" y="1854456"/>
            <a:ext cx="8554720" cy="4077159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44672B60-E315-6FA3-7E03-6AF157B35E7E}"/>
              </a:ext>
            </a:extLst>
          </p:cNvPr>
          <p:cNvSpPr/>
          <p:nvPr/>
        </p:nvSpPr>
        <p:spPr>
          <a:xfrm flipH="1">
            <a:off x="1659521" y="3992177"/>
            <a:ext cx="8636432" cy="17669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A916CDFE-13F3-3C86-8C95-CF754826108A}"/>
              </a:ext>
            </a:extLst>
          </p:cNvPr>
          <p:cNvGrpSpPr/>
          <p:nvPr/>
        </p:nvGrpSpPr>
        <p:grpSpPr>
          <a:xfrm>
            <a:off x="2341081" y="3613843"/>
            <a:ext cx="7151908" cy="2415150"/>
            <a:chOff x="2164898" y="3556010"/>
            <a:chExt cx="7151908" cy="2415150"/>
          </a:xfrm>
          <a:noFill/>
        </p:grpSpPr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7E6646F7-E0CE-972D-CA2D-0DEBFE121405}"/>
                </a:ext>
              </a:extLst>
            </p:cNvPr>
            <p:cNvSpPr txBox="1"/>
            <p:nvPr/>
          </p:nvSpPr>
          <p:spPr>
            <a:xfrm rot="18850885">
              <a:off x="4901177" y="4353088"/>
              <a:ext cx="1856580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Ciclo de tratamiento corto</a:t>
              </a:r>
            </a:p>
          </p:txBody>
        </p:sp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14ED8B18-9D14-AA29-215C-2009290C6D2B}"/>
                </a:ext>
              </a:extLst>
            </p:cNvPr>
            <p:cNvSpPr txBox="1"/>
            <p:nvPr/>
          </p:nvSpPr>
          <p:spPr>
            <a:xfrm rot="18829828">
              <a:off x="2568224" y="4410320"/>
              <a:ext cx="2049473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El tratamiento es muy poco o poco doloroso</a:t>
              </a:r>
            </a:p>
          </p:txBody>
        </p: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75831EF0-6C02-D888-3C14-1EB841BD93F3}"/>
                </a:ext>
              </a:extLst>
            </p:cNvPr>
            <p:cNvSpPr txBox="1"/>
            <p:nvPr/>
          </p:nvSpPr>
          <p:spPr>
            <a:xfrm rot="18829828">
              <a:off x="4127685" y="4263192"/>
              <a:ext cx="1506250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Buen resultado cosmético</a:t>
              </a:r>
            </a:p>
          </p:txBody>
        </p: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2E05C879-3F8D-F1C5-8287-1715CAC9E7FF}"/>
                </a:ext>
              </a:extLst>
            </p:cNvPr>
            <p:cNvSpPr txBox="1"/>
            <p:nvPr/>
          </p:nvSpPr>
          <p:spPr>
            <a:xfrm rot="18796956">
              <a:off x="6167688" y="4235290"/>
              <a:ext cx="1656838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Bajos costos de tratamiento</a:t>
              </a: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34D33F15-2B4A-6090-A4E2-893B5ABF8391}"/>
                </a:ext>
              </a:extLst>
            </p:cNvPr>
            <p:cNvSpPr txBox="1"/>
            <p:nvPr/>
          </p:nvSpPr>
          <p:spPr>
            <a:xfrm rot="18824745">
              <a:off x="7209896" y="4192782"/>
              <a:ext cx="1796763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Tratamiento realizado en casa</a:t>
              </a: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FC39F7C8-29C9-900D-1C13-D6E4A32B7BA7}"/>
                </a:ext>
              </a:extLst>
            </p:cNvPr>
            <p:cNvSpPr txBox="1"/>
            <p:nvPr/>
          </p:nvSpPr>
          <p:spPr>
            <a:xfrm rot="18737596">
              <a:off x="8053015" y="4403036"/>
              <a:ext cx="2004361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Tratamiento realizado sólo una vez</a:t>
              </a: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7A1148B0-7774-FD8B-7000-E5F8424BECEA}"/>
                </a:ext>
              </a:extLst>
            </p:cNvPr>
            <p:cNvSpPr txBox="1"/>
            <p:nvPr/>
          </p:nvSpPr>
          <p:spPr>
            <a:xfrm rot="18829828">
              <a:off x="1242311" y="4525353"/>
              <a:ext cx="2368394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El tratamiento no interfiere con la vida diaria</a:t>
              </a:r>
            </a:p>
          </p:txBody>
        </p:sp>
      </p:grpSp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AACC040D-CB4C-13E5-9221-98D6F5A53F4E}"/>
              </a:ext>
            </a:extLst>
          </p:cNvPr>
          <p:cNvSpPr/>
          <p:nvPr/>
        </p:nvSpPr>
        <p:spPr>
          <a:xfrm>
            <a:off x="1313863" y="1450941"/>
            <a:ext cx="9285515" cy="4480674"/>
          </a:xfrm>
          <a:prstGeom prst="roundRect">
            <a:avLst/>
          </a:prstGeom>
          <a:noFill/>
          <a:ln w="9525" cap="flat" cmpd="sng" algn="ctr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endParaRPr lang="es-ES" sz="1600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7127CF0E-30D3-1EFF-909A-E0C8AEC502C6}"/>
              </a:ext>
            </a:extLst>
          </p:cNvPr>
          <p:cNvSpPr/>
          <p:nvPr/>
        </p:nvSpPr>
        <p:spPr>
          <a:xfrm>
            <a:off x="4826803" y="1450941"/>
            <a:ext cx="953020" cy="254123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87509D69-0D9E-0D70-0C51-5CD55D022274}"/>
              </a:ext>
            </a:extLst>
          </p:cNvPr>
          <p:cNvSpPr txBox="1"/>
          <p:nvPr/>
        </p:nvSpPr>
        <p:spPr>
          <a:xfrm>
            <a:off x="409169" y="102671"/>
            <a:ext cx="899608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E93C3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¿La apariencia de la piel/el efecto cosmético tras el tratamiento es relevante (tanto de pacientes como de clínicos) para volver a utilizar </a:t>
            </a:r>
            <a:r>
              <a:rPr kumimoji="0" lang="es-ES" sz="2400" b="1" i="0" u="none" strike="noStrike" kern="1200" cap="none" spc="0" normalizeH="0" baseline="0" noProof="0" err="1">
                <a:ln>
                  <a:noFill/>
                </a:ln>
                <a:solidFill>
                  <a:srgbClr val="E93C3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rbanibulina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E93C3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nuevo? </a:t>
            </a:r>
          </a:p>
        </p:txBody>
      </p:sp>
    </p:spTree>
    <p:extLst>
      <p:ext uri="{BB962C8B-B14F-4D97-AF65-F5344CB8AC3E}">
        <p14:creationId xmlns:p14="http://schemas.microsoft.com/office/powerpoint/2010/main" val="237458822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E1570F2-D5D1-BDC3-257C-952AB393EC8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7842" y="373519"/>
            <a:ext cx="8675401" cy="843114"/>
          </a:xfrm>
        </p:spPr>
        <p:txBody>
          <a:bodyPr>
            <a:normAutofit lnSpcReduction="10000"/>
          </a:bodyPr>
          <a:lstStyle/>
          <a:p>
            <a:r>
              <a:rPr lang="es-ES"/>
              <a:t>¿Creéis que los efectos adversos derivados del tratamiento con </a:t>
            </a:r>
            <a:r>
              <a:rPr lang="es-ES" err="1"/>
              <a:t>tirbanibulina</a:t>
            </a:r>
            <a:r>
              <a:rPr lang="es-ES"/>
              <a:t> se resuelven solos?</a:t>
            </a:r>
          </a:p>
          <a:p>
            <a:endParaRPr lang="es-ES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3BED50F-C024-3DBC-42B8-EB355236A320}"/>
              </a:ext>
            </a:extLst>
          </p:cNvPr>
          <p:cNvSpPr txBox="1"/>
          <p:nvPr/>
        </p:nvSpPr>
        <p:spPr>
          <a:xfrm>
            <a:off x="647842" y="1474601"/>
            <a:ext cx="10292587" cy="39735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La mayoría de los </a:t>
            </a:r>
            <a:r>
              <a:rPr kumimoji="0" lang="es-ES" sz="18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AA fueron leves</a:t>
            </a:r>
            <a:r>
              <a: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, siendo los más comunes el </a:t>
            </a:r>
            <a:r>
              <a:rPr kumimoji="0" lang="es-ES" sz="18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prurito</a:t>
            </a:r>
            <a:r>
              <a: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 y el </a:t>
            </a:r>
            <a:r>
              <a:rPr kumimoji="0" lang="es-ES" sz="18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dolor en el lugar de aplicación</a:t>
            </a:r>
          </a:p>
          <a:p>
            <a:pPr marL="342900" marR="0" lvl="0" indent="-34290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La mayoría de las </a:t>
            </a:r>
            <a:r>
              <a:rPr kumimoji="0" lang="es-ES" sz="18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reacciones cutáneas locales </a:t>
            </a:r>
            <a:r>
              <a: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fueron de </a:t>
            </a:r>
            <a:r>
              <a:rPr kumimoji="0" lang="es-ES" sz="18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leves a moderadas</a:t>
            </a:r>
            <a:r>
              <a: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, siendo las más frecuentes el </a:t>
            </a:r>
            <a:r>
              <a:rPr kumimoji="0" lang="es-ES" sz="18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eritema </a:t>
            </a:r>
            <a:r>
              <a: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y la </a:t>
            </a:r>
            <a:r>
              <a:rPr kumimoji="0" lang="es-ES" sz="18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descamación</a:t>
            </a:r>
          </a:p>
          <a:p>
            <a:pPr marL="342900" marR="0" lvl="0" indent="-34290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Durante el tratamiento con </a:t>
            </a:r>
            <a:r>
              <a:rPr kumimoji="0" lang="es-ES" sz="1800" b="0" i="0" u="none" strike="noStrike" kern="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tirbanibulina</a:t>
            </a:r>
            <a:r>
              <a: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 no hubo interrupciones de uso</a:t>
            </a:r>
            <a:endParaRPr kumimoji="0" lang="es-ES" sz="1800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</a:endParaRPr>
          </a:p>
          <a:p>
            <a:pPr marL="342900" marR="0" lvl="0" indent="-34290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Todas las reacciones cutáneas locales </a:t>
            </a:r>
            <a:r>
              <a:rPr kumimoji="0" lang="es-ES" sz="18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se resolvieron sin intervención</a:t>
            </a:r>
          </a:p>
          <a:p>
            <a:pPr marL="342900" marR="0" lvl="0" indent="-34290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Las reacciones cutáneas locales </a:t>
            </a:r>
            <a:r>
              <a:rPr kumimoji="0" lang="es-ES" sz="18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</a:rPr>
              <a:t>graves fueron infrecuentes </a:t>
            </a:r>
          </a:p>
          <a:p>
            <a:pPr marL="0" marR="0" lvl="0" indent="0" defTabSz="91440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endParaRPr kumimoji="0" lang="es-ES" sz="1867" b="1" i="0" u="none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</a:endParaRPr>
          </a:p>
        </p:txBody>
      </p:sp>
      <p:sp>
        <p:nvSpPr>
          <p:cNvPr id="8" name="TextBox 32">
            <a:extLst>
              <a:ext uri="{FF2B5EF4-FFF2-40B4-BE49-F238E27FC236}">
                <a16:creationId xmlns:a16="http://schemas.microsoft.com/office/drawing/2014/main" id="{F1F8E324-D769-E1BE-1BE9-CDEA55615D8E}"/>
              </a:ext>
            </a:extLst>
          </p:cNvPr>
          <p:cNvSpPr txBox="1"/>
          <p:nvPr/>
        </p:nvSpPr>
        <p:spPr>
          <a:xfrm>
            <a:off x="2177913" y="6397079"/>
            <a:ext cx="82338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lauvelt A, et al. Phase 3 Tirbanibulin for Actinic Keratosis Group. Phase 3 Trials of Tirbanibulin Ointment for Actinic Keratosis. N Engl J Med. 2021 Feb 11;384(6):512-520. </a:t>
            </a:r>
          </a:p>
        </p:txBody>
      </p:sp>
      <p:sp>
        <p:nvSpPr>
          <p:cNvPr id="9" name="Marcador de contenido 4">
            <a:extLst>
              <a:ext uri="{FF2B5EF4-FFF2-40B4-BE49-F238E27FC236}">
                <a16:creationId xmlns:a16="http://schemas.microsoft.com/office/drawing/2014/main" id="{15B9253B-F5D8-66BF-3682-78C91B622C29}"/>
              </a:ext>
            </a:extLst>
          </p:cNvPr>
          <p:cNvSpPr txBox="1">
            <a:spLocks/>
          </p:cNvSpPr>
          <p:nvPr/>
        </p:nvSpPr>
        <p:spPr>
          <a:xfrm>
            <a:off x="1352764" y="5330102"/>
            <a:ext cx="9884196" cy="519714"/>
          </a:xfrm>
          <a:prstGeom prst="roundRect">
            <a:avLst/>
          </a:prstGeom>
          <a:solidFill>
            <a:srgbClr val="FFEF9A"/>
          </a:solidFill>
          <a:ln w="28575">
            <a:solidFill>
              <a:srgbClr val="376092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500" b="1" i="0" u="none" strike="noStrike" kern="0" cap="none" spc="0" normalizeH="0" baseline="0" noProof="0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RBANIBULINA PRESENTA UNA BUENA TOLERABILIDAD Y UN PERFIL DE SEGURIDAD FAVORABLE</a:t>
            </a:r>
            <a:endParaRPr kumimoji="0" lang="en-GB" sz="1500" b="1" i="0" u="none" strike="noStrike" kern="0" cap="none" spc="0" normalizeH="0" baseline="30000" noProof="0">
              <a:ln>
                <a:noFill/>
              </a:ln>
              <a:solidFill>
                <a:srgbClr val="00346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80962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AA972AE5-3171-E3CA-3741-88A6E8432A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2" t="1402" r="80681" b="2256"/>
          <a:stretch/>
        </p:blipFill>
        <p:spPr>
          <a:xfrm>
            <a:off x="1508642" y="4978125"/>
            <a:ext cx="1305908" cy="1059747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5" name="TextBox 32">
            <a:extLst>
              <a:ext uri="{FF2B5EF4-FFF2-40B4-BE49-F238E27FC236}">
                <a16:creationId xmlns:a16="http://schemas.microsoft.com/office/drawing/2014/main" id="{35F774E4-E4D8-FBD0-D57B-801D1AFFAC5E}"/>
              </a:ext>
            </a:extLst>
          </p:cNvPr>
          <p:cNvSpPr txBox="1"/>
          <p:nvPr/>
        </p:nvSpPr>
        <p:spPr>
          <a:xfrm>
            <a:off x="1107443" y="6301724"/>
            <a:ext cx="91321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ES" sz="80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es-E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Gilaberte Y. et al.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vorable safety profile of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rbanibulin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intment 1% for actinic keratosis: pooled results from two phase 3 studies. </a:t>
            </a:r>
            <a:r>
              <a:rPr kumimoji="0" lang="es-E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ster presentado en EADO, Sevilla 21-23 Abril, 2022. </a:t>
            </a:r>
          </a:p>
          <a:p>
            <a:pPr marR="0" lvl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ES" sz="80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es-ES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mpione E. et al. Preliminary Evidence of Efficacy, Safety, and Treatment Satisfaction with Tirbanibulin 1% Ointment: A Clinical Perspective on Actinic Keratoses. Pharmaceuticals (Basel). 2023 Dec 4;16(12):1686 </a:t>
            </a:r>
            <a:r>
              <a:rPr kumimoji="0" lang="es-ES" sz="80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</a:t>
            </a:r>
            <a:r>
              <a:rPr kumimoji="0" lang="es-ES" sz="800" b="0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lauvelt A, et al. Phase 3 Tirbanibulin for Actinic Keratosis Group. Phase 3 Trials of Tirbanibulin Ointment for Actinic Keratosis. N Engl J Med. 2021 Feb 11;384(6):512-520.</a:t>
            </a: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6184DC17-1E1E-6E0E-2633-6DCEFCE1E92E}"/>
              </a:ext>
            </a:extLst>
          </p:cNvPr>
          <p:cNvGrpSpPr/>
          <p:nvPr/>
        </p:nvGrpSpPr>
        <p:grpSpPr>
          <a:xfrm>
            <a:off x="679440" y="1084523"/>
            <a:ext cx="8565276" cy="3872285"/>
            <a:chOff x="433833" y="1653199"/>
            <a:chExt cx="6120647" cy="2748789"/>
          </a:xfrm>
        </p:grpSpPr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077FEAF4-2327-66B7-8D0E-C29BDD77015C}"/>
                </a:ext>
              </a:extLst>
            </p:cNvPr>
            <p:cNvGrpSpPr/>
            <p:nvPr/>
          </p:nvGrpSpPr>
          <p:grpSpPr>
            <a:xfrm>
              <a:off x="433833" y="1653199"/>
              <a:ext cx="6120647" cy="2653046"/>
              <a:chOff x="558290" y="1441163"/>
              <a:chExt cx="6188292" cy="2923368"/>
            </a:xfrm>
          </p:grpSpPr>
          <p:grpSp>
            <p:nvGrpSpPr>
              <p:cNvPr id="9" name="Grupo 8">
                <a:extLst>
                  <a:ext uri="{FF2B5EF4-FFF2-40B4-BE49-F238E27FC236}">
                    <a16:creationId xmlns:a16="http://schemas.microsoft.com/office/drawing/2014/main" id="{FCA18744-0BF2-BD05-7F1C-8323DE6C9B99}"/>
                  </a:ext>
                </a:extLst>
              </p:cNvPr>
              <p:cNvGrpSpPr/>
              <p:nvPr/>
            </p:nvGrpSpPr>
            <p:grpSpPr>
              <a:xfrm>
                <a:off x="558290" y="1521122"/>
                <a:ext cx="6188292" cy="2843409"/>
                <a:chOff x="185447" y="2086946"/>
                <a:chExt cx="8260202" cy="2228355"/>
              </a:xfrm>
            </p:grpSpPr>
            <p:cxnSp>
              <p:nvCxnSpPr>
                <p:cNvPr id="11" name="Conector recto 10">
                  <a:extLst>
                    <a:ext uri="{FF2B5EF4-FFF2-40B4-BE49-F238E27FC236}">
                      <a16:creationId xmlns:a16="http://schemas.microsoft.com/office/drawing/2014/main" id="{5CE04D17-89AB-0D41-43B3-EBBC37C73A58}"/>
                    </a:ext>
                  </a:extLst>
                </p:cNvPr>
                <p:cNvCxnSpPr/>
                <p:nvPr/>
              </p:nvCxnSpPr>
              <p:spPr>
                <a:xfrm>
                  <a:off x="803663" y="2086946"/>
                  <a:ext cx="0" cy="188556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Conector recto 11">
                  <a:extLst>
                    <a:ext uri="{FF2B5EF4-FFF2-40B4-BE49-F238E27FC236}">
                      <a16:creationId xmlns:a16="http://schemas.microsoft.com/office/drawing/2014/main" id="{15F0B110-61FE-90E2-F170-A8C11E75BDE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03663" y="3972514"/>
                  <a:ext cx="7641986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" name="Rectángulo redondeado 6">
                  <a:extLst>
                    <a:ext uri="{FF2B5EF4-FFF2-40B4-BE49-F238E27FC236}">
                      <a16:creationId xmlns:a16="http://schemas.microsoft.com/office/drawing/2014/main" id="{AB47ED16-E90B-2DE8-AD74-566893720861}"/>
                    </a:ext>
                  </a:extLst>
                </p:cNvPr>
                <p:cNvSpPr/>
                <p:nvPr/>
              </p:nvSpPr>
              <p:spPr>
                <a:xfrm>
                  <a:off x="1072748" y="4015105"/>
                  <a:ext cx="1366723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33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ía 1 (basal) 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" name="Rectángulo redondeado 6">
                  <a:extLst>
                    <a:ext uri="{FF2B5EF4-FFF2-40B4-BE49-F238E27FC236}">
                      <a16:creationId xmlns:a16="http://schemas.microsoft.com/office/drawing/2014/main" id="{58F049B1-401C-5418-AF52-943C0419871A}"/>
                    </a:ext>
                  </a:extLst>
                </p:cNvPr>
                <p:cNvSpPr/>
                <p:nvPr/>
              </p:nvSpPr>
              <p:spPr>
                <a:xfrm>
                  <a:off x="4738413" y="4003541"/>
                  <a:ext cx="1366723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33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ía 15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" name="Rectángulo redondeado 6">
                  <a:extLst>
                    <a:ext uri="{FF2B5EF4-FFF2-40B4-BE49-F238E27FC236}">
                      <a16:creationId xmlns:a16="http://schemas.microsoft.com/office/drawing/2014/main" id="{4E49801D-C58E-DC02-36A2-BA8C11F34065}"/>
                    </a:ext>
                  </a:extLst>
                </p:cNvPr>
                <p:cNvSpPr/>
                <p:nvPr/>
              </p:nvSpPr>
              <p:spPr>
                <a:xfrm>
                  <a:off x="6261617" y="4019110"/>
                  <a:ext cx="722536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33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ía 29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" name="Rectángulo redondeado 6">
                  <a:extLst>
                    <a:ext uri="{FF2B5EF4-FFF2-40B4-BE49-F238E27FC236}">
                      <a16:creationId xmlns:a16="http://schemas.microsoft.com/office/drawing/2014/main" id="{EDCC526D-0314-EEB4-F113-F570F66840AE}"/>
                    </a:ext>
                  </a:extLst>
                </p:cNvPr>
                <p:cNvSpPr/>
                <p:nvPr/>
              </p:nvSpPr>
              <p:spPr>
                <a:xfrm>
                  <a:off x="3524090" y="4003738"/>
                  <a:ext cx="1366723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33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ía 8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" name="Rectángulo redondeado 6">
                  <a:extLst>
                    <a:ext uri="{FF2B5EF4-FFF2-40B4-BE49-F238E27FC236}">
                      <a16:creationId xmlns:a16="http://schemas.microsoft.com/office/drawing/2014/main" id="{F1356C1C-882A-2364-EDD4-AC4E1DAB885F}"/>
                    </a:ext>
                  </a:extLst>
                </p:cNvPr>
                <p:cNvSpPr/>
                <p:nvPr/>
              </p:nvSpPr>
              <p:spPr>
                <a:xfrm>
                  <a:off x="2286862" y="4001164"/>
                  <a:ext cx="1366723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33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ía 5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" name="Rectángulo redondeado 6">
                  <a:extLst>
                    <a:ext uri="{FF2B5EF4-FFF2-40B4-BE49-F238E27FC236}">
                      <a16:creationId xmlns:a16="http://schemas.microsoft.com/office/drawing/2014/main" id="{C7A4403E-1D5D-C100-14D0-96FA39774AEC}"/>
                    </a:ext>
                  </a:extLst>
                </p:cNvPr>
                <p:cNvSpPr/>
                <p:nvPr/>
              </p:nvSpPr>
              <p:spPr>
                <a:xfrm>
                  <a:off x="7512101" y="4027987"/>
                  <a:ext cx="722536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333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Día 57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" name="Rectángulo 18">
                  <a:extLst>
                    <a:ext uri="{FF2B5EF4-FFF2-40B4-BE49-F238E27FC236}">
                      <a16:creationId xmlns:a16="http://schemas.microsoft.com/office/drawing/2014/main" id="{F507B968-B2C8-4932-11E3-5EDED8D97299}"/>
                    </a:ext>
                  </a:extLst>
                </p:cNvPr>
                <p:cNvSpPr/>
                <p:nvPr/>
              </p:nvSpPr>
              <p:spPr>
                <a:xfrm>
                  <a:off x="2819273" y="3313182"/>
                  <a:ext cx="315310" cy="279045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0" name="Conector recto 19">
                  <a:extLst>
                    <a:ext uri="{FF2B5EF4-FFF2-40B4-BE49-F238E27FC236}">
                      <a16:creationId xmlns:a16="http://schemas.microsoft.com/office/drawing/2014/main" id="{A49BE37A-3914-CEA0-7532-9AFA13DFBAC1}"/>
                    </a:ext>
                  </a:extLst>
                </p:cNvPr>
                <p:cNvCxnSpPr>
                  <a:stCxn id="19" idx="1"/>
                  <a:endCxn id="19" idx="3"/>
                </p:cNvCxnSpPr>
                <p:nvPr/>
              </p:nvCxnSpPr>
              <p:spPr>
                <a:xfrm>
                  <a:off x="2819273" y="3452705"/>
                  <a:ext cx="315310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" name="Rectángulo 20">
                  <a:extLst>
                    <a:ext uri="{FF2B5EF4-FFF2-40B4-BE49-F238E27FC236}">
                      <a16:creationId xmlns:a16="http://schemas.microsoft.com/office/drawing/2014/main" id="{36595265-9969-5F1F-4158-0E041DB783D0}"/>
                    </a:ext>
                  </a:extLst>
                </p:cNvPr>
                <p:cNvSpPr/>
                <p:nvPr/>
              </p:nvSpPr>
              <p:spPr>
                <a:xfrm>
                  <a:off x="4044288" y="3166091"/>
                  <a:ext cx="315310" cy="4400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2" name="Conector recto 21">
                  <a:extLst>
                    <a:ext uri="{FF2B5EF4-FFF2-40B4-BE49-F238E27FC236}">
                      <a16:creationId xmlns:a16="http://schemas.microsoft.com/office/drawing/2014/main" id="{98B85CB6-0402-06E7-0A23-1A77FECF622B}"/>
                    </a:ext>
                  </a:extLst>
                </p:cNvPr>
                <p:cNvCxnSpPr/>
                <p:nvPr/>
              </p:nvCxnSpPr>
              <p:spPr>
                <a:xfrm>
                  <a:off x="4047068" y="3291802"/>
                  <a:ext cx="315310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Rectángulo 22">
                  <a:extLst>
                    <a:ext uri="{FF2B5EF4-FFF2-40B4-BE49-F238E27FC236}">
                      <a16:creationId xmlns:a16="http://schemas.microsoft.com/office/drawing/2014/main" id="{1EE9BED0-B137-7D0C-4491-FBDB197E4B55}"/>
                    </a:ext>
                  </a:extLst>
                </p:cNvPr>
                <p:cNvSpPr/>
                <p:nvPr/>
              </p:nvSpPr>
              <p:spPr>
                <a:xfrm>
                  <a:off x="5254442" y="3459783"/>
                  <a:ext cx="315310" cy="28173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4" name="Conector recto 23">
                  <a:extLst>
                    <a:ext uri="{FF2B5EF4-FFF2-40B4-BE49-F238E27FC236}">
                      <a16:creationId xmlns:a16="http://schemas.microsoft.com/office/drawing/2014/main" id="{0509632F-188B-152B-087A-3FF22B3D579E}"/>
                    </a:ext>
                  </a:extLst>
                </p:cNvPr>
                <p:cNvCxnSpPr/>
                <p:nvPr/>
              </p:nvCxnSpPr>
              <p:spPr>
                <a:xfrm>
                  <a:off x="5254442" y="3606137"/>
                  <a:ext cx="315310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Rectángulo 24">
                  <a:extLst>
                    <a:ext uri="{FF2B5EF4-FFF2-40B4-BE49-F238E27FC236}">
                      <a16:creationId xmlns:a16="http://schemas.microsoft.com/office/drawing/2014/main" id="{742A00D6-FBCB-315E-B01E-966DEDAA319E}"/>
                    </a:ext>
                  </a:extLst>
                </p:cNvPr>
                <p:cNvSpPr/>
                <p:nvPr/>
              </p:nvSpPr>
              <p:spPr>
                <a:xfrm>
                  <a:off x="6476411" y="3741515"/>
                  <a:ext cx="315310" cy="1597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26" name="Conector recto 25">
                  <a:extLst>
                    <a:ext uri="{FF2B5EF4-FFF2-40B4-BE49-F238E27FC236}">
                      <a16:creationId xmlns:a16="http://schemas.microsoft.com/office/drawing/2014/main" id="{D12FC132-1252-0805-FA6A-4FA6F06C0769}"/>
                    </a:ext>
                  </a:extLst>
                </p:cNvPr>
                <p:cNvCxnSpPr/>
                <p:nvPr/>
              </p:nvCxnSpPr>
              <p:spPr>
                <a:xfrm>
                  <a:off x="7692842" y="3900540"/>
                  <a:ext cx="315310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" name="Rectángulo 26">
                  <a:extLst>
                    <a:ext uri="{FF2B5EF4-FFF2-40B4-BE49-F238E27FC236}">
                      <a16:creationId xmlns:a16="http://schemas.microsoft.com/office/drawing/2014/main" id="{1C8039BB-B07E-B422-E479-9C0A12351A43}"/>
                    </a:ext>
                  </a:extLst>
                </p:cNvPr>
                <p:cNvSpPr/>
                <p:nvPr/>
              </p:nvSpPr>
              <p:spPr>
                <a:xfrm>
                  <a:off x="1596807" y="3741515"/>
                  <a:ext cx="315310" cy="14969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Elipse 27">
                  <a:extLst>
                    <a:ext uri="{FF2B5EF4-FFF2-40B4-BE49-F238E27FC236}">
                      <a16:creationId xmlns:a16="http://schemas.microsoft.com/office/drawing/2014/main" id="{95BBF6FB-70A5-601B-448C-6C081D633979}"/>
                    </a:ext>
                  </a:extLst>
                </p:cNvPr>
                <p:cNvSpPr/>
                <p:nvPr/>
              </p:nvSpPr>
              <p:spPr>
                <a:xfrm>
                  <a:off x="1731602" y="2565564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Elipse 28">
                  <a:extLst>
                    <a:ext uri="{FF2B5EF4-FFF2-40B4-BE49-F238E27FC236}">
                      <a16:creationId xmlns:a16="http://schemas.microsoft.com/office/drawing/2014/main" id="{565A34DB-E742-0544-AAC8-4EA975CB783C}"/>
                    </a:ext>
                  </a:extLst>
                </p:cNvPr>
                <p:cNvSpPr/>
                <p:nvPr/>
              </p:nvSpPr>
              <p:spPr>
                <a:xfrm>
                  <a:off x="1731601" y="3297020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Elipse 29">
                  <a:extLst>
                    <a:ext uri="{FF2B5EF4-FFF2-40B4-BE49-F238E27FC236}">
                      <a16:creationId xmlns:a16="http://schemas.microsoft.com/office/drawing/2014/main" id="{CD9613C0-A1FD-49D3-6ABD-3B5B023A21DA}"/>
                    </a:ext>
                  </a:extLst>
                </p:cNvPr>
                <p:cNvSpPr/>
                <p:nvPr/>
              </p:nvSpPr>
              <p:spPr>
                <a:xfrm>
                  <a:off x="1730529" y="3436923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Elipse 30">
                  <a:extLst>
                    <a:ext uri="{FF2B5EF4-FFF2-40B4-BE49-F238E27FC236}">
                      <a16:creationId xmlns:a16="http://schemas.microsoft.com/office/drawing/2014/main" id="{EAB2B08C-7416-6BD9-A57C-62E7F1FB00E2}"/>
                    </a:ext>
                  </a:extLst>
                </p:cNvPr>
                <p:cNvSpPr/>
                <p:nvPr/>
              </p:nvSpPr>
              <p:spPr>
                <a:xfrm>
                  <a:off x="2954068" y="2702947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Elipse 31">
                  <a:extLst>
                    <a:ext uri="{FF2B5EF4-FFF2-40B4-BE49-F238E27FC236}">
                      <a16:creationId xmlns:a16="http://schemas.microsoft.com/office/drawing/2014/main" id="{6F788714-94E0-2B94-D6F2-99419D34EF3F}"/>
                    </a:ext>
                  </a:extLst>
                </p:cNvPr>
                <p:cNvSpPr/>
                <p:nvPr/>
              </p:nvSpPr>
              <p:spPr>
                <a:xfrm>
                  <a:off x="2954068" y="2562433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Elipse 32">
                  <a:extLst>
                    <a:ext uri="{FF2B5EF4-FFF2-40B4-BE49-F238E27FC236}">
                      <a16:creationId xmlns:a16="http://schemas.microsoft.com/office/drawing/2014/main" id="{86F8D6B9-035C-A9F1-676B-560C97547B6C}"/>
                    </a:ext>
                  </a:extLst>
                </p:cNvPr>
                <p:cNvSpPr/>
                <p:nvPr/>
              </p:nvSpPr>
              <p:spPr>
                <a:xfrm>
                  <a:off x="4180462" y="2403761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Elipse 33">
                  <a:extLst>
                    <a:ext uri="{FF2B5EF4-FFF2-40B4-BE49-F238E27FC236}">
                      <a16:creationId xmlns:a16="http://schemas.microsoft.com/office/drawing/2014/main" id="{DD5002E4-7489-CC13-6776-D3F47C3F5721}"/>
                    </a:ext>
                  </a:extLst>
                </p:cNvPr>
                <p:cNvSpPr/>
                <p:nvPr/>
              </p:nvSpPr>
              <p:spPr>
                <a:xfrm>
                  <a:off x="4181136" y="2272858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Elipse 34">
                  <a:extLst>
                    <a:ext uri="{FF2B5EF4-FFF2-40B4-BE49-F238E27FC236}">
                      <a16:creationId xmlns:a16="http://schemas.microsoft.com/office/drawing/2014/main" id="{AA30EFB6-574F-C3A3-3762-D5B96D0044AE}"/>
                    </a:ext>
                  </a:extLst>
                </p:cNvPr>
                <p:cNvSpPr/>
                <p:nvPr/>
              </p:nvSpPr>
              <p:spPr>
                <a:xfrm>
                  <a:off x="4179674" y="2128099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Elipse 35">
                  <a:extLst>
                    <a:ext uri="{FF2B5EF4-FFF2-40B4-BE49-F238E27FC236}">
                      <a16:creationId xmlns:a16="http://schemas.microsoft.com/office/drawing/2014/main" id="{9F805897-753A-854B-9C8D-D2EEA34532CA}"/>
                    </a:ext>
                  </a:extLst>
                </p:cNvPr>
                <p:cNvSpPr/>
                <p:nvPr/>
              </p:nvSpPr>
              <p:spPr>
                <a:xfrm>
                  <a:off x="5388362" y="2707222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Elipse 36">
                  <a:extLst>
                    <a:ext uri="{FF2B5EF4-FFF2-40B4-BE49-F238E27FC236}">
                      <a16:creationId xmlns:a16="http://schemas.microsoft.com/office/drawing/2014/main" id="{EB851923-6A66-0C54-10FF-373844E2098A}"/>
                    </a:ext>
                  </a:extLst>
                </p:cNvPr>
                <p:cNvSpPr/>
                <p:nvPr/>
              </p:nvSpPr>
              <p:spPr>
                <a:xfrm>
                  <a:off x="5386900" y="2562463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Elipse 37">
                  <a:extLst>
                    <a:ext uri="{FF2B5EF4-FFF2-40B4-BE49-F238E27FC236}">
                      <a16:creationId xmlns:a16="http://schemas.microsoft.com/office/drawing/2014/main" id="{A54C8682-B3CA-4EFB-B1A5-81D859B8A8CB}"/>
                    </a:ext>
                  </a:extLst>
                </p:cNvPr>
                <p:cNvSpPr/>
                <p:nvPr/>
              </p:nvSpPr>
              <p:spPr>
                <a:xfrm>
                  <a:off x="6606890" y="3421420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Elipse 38">
                  <a:extLst>
                    <a:ext uri="{FF2B5EF4-FFF2-40B4-BE49-F238E27FC236}">
                      <a16:creationId xmlns:a16="http://schemas.microsoft.com/office/drawing/2014/main" id="{977B8908-1A41-D399-640B-1F3700F7BCE4}"/>
                    </a:ext>
                  </a:extLst>
                </p:cNvPr>
                <p:cNvSpPr/>
                <p:nvPr/>
              </p:nvSpPr>
              <p:spPr>
                <a:xfrm>
                  <a:off x="6605428" y="3276661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40" name="Conector recto 39">
                  <a:extLst>
                    <a:ext uri="{FF2B5EF4-FFF2-40B4-BE49-F238E27FC236}">
                      <a16:creationId xmlns:a16="http://schemas.microsoft.com/office/drawing/2014/main" id="{D2AECFB3-9FED-1213-3223-6E4319F3127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756652" y="3606137"/>
                  <a:ext cx="1073" cy="135378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Conector recto 40">
                  <a:extLst>
                    <a:ext uri="{FF2B5EF4-FFF2-40B4-BE49-F238E27FC236}">
                      <a16:creationId xmlns:a16="http://schemas.microsoft.com/office/drawing/2014/main" id="{EE57A97F-DEC6-D6BD-BBE8-1E404BA52E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18322" y="3606137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Conector recto 41">
                  <a:extLst>
                    <a:ext uri="{FF2B5EF4-FFF2-40B4-BE49-F238E27FC236}">
                      <a16:creationId xmlns:a16="http://schemas.microsoft.com/office/drawing/2014/main" id="{361F0F7B-16A8-ED87-1C26-C7EC3EC56F4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76831" y="2880181"/>
                  <a:ext cx="0" cy="422311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Conector recto 42">
                  <a:extLst>
                    <a:ext uri="{FF2B5EF4-FFF2-40B4-BE49-F238E27FC236}">
                      <a16:creationId xmlns:a16="http://schemas.microsoft.com/office/drawing/2014/main" id="{B3E78745-292F-D82A-4D67-2A37173977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48088" y="2880181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Forma libre: forma 43">
                  <a:extLst>
                    <a:ext uri="{FF2B5EF4-FFF2-40B4-BE49-F238E27FC236}">
                      <a16:creationId xmlns:a16="http://schemas.microsoft.com/office/drawing/2014/main" id="{31A527F1-D892-C5BD-ABF5-D6AA9D39E7F9}"/>
                    </a:ext>
                  </a:extLst>
                </p:cNvPr>
                <p:cNvSpPr/>
                <p:nvPr/>
              </p:nvSpPr>
              <p:spPr>
                <a:xfrm rot="16200000">
                  <a:off x="4523518" y="484433"/>
                  <a:ext cx="552624" cy="6167362"/>
                </a:xfrm>
                <a:custGeom>
                  <a:avLst/>
                  <a:gdLst>
                    <a:gd name="connsiteX0" fmla="*/ 64825 w 688554"/>
                    <a:gd name="connsiteY0" fmla="*/ 0 h 2695441"/>
                    <a:gd name="connsiteX1" fmla="*/ 682891 w 688554"/>
                    <a:gd name="connsiteY1" fmla="*/ 838200 h 2695441"/>
                    <a:gd name="connsiteX2" fmla="*/ 352691 w 688554"/>
                    <a:gd name="connsiteY2" fmla="*/ 1532467 h 2695441"/>
                    <a:gd name="connsiteX3" fmla="*/ 30958 w 688554"/>
                    <a:gd name="connsiteY3" fmla="*/ 2590800 h 2695441"/>
                    <a:gd name="connsiteX4" fmla="*/ 30958 w 688554"/>
                    <a:gd name="connsiteY4" fmla="*/ 2599267 h 2695441"/>
                    <a:gd name="connsiteX0" fmla="*/ 64825 w 684428"/>
                    <a:gd name="connsiteY0" fmla="*/ 0 h 2695441"/>
                    <a:gd name="connsiteX1" fmla="*/ 682891 w 684428"/>
                    <a:gd name="connsiteY1" fmla="*/ 838200 h 2695441"/>
                    <a:gd name="connsiteX2" fmla="*/ 234158 w 684428"/>
                    <a:gd name="connsiteY2" fmla="*/ 1764525 h 2695441"/>
                    <a:gd name="connsiteX3" fmla="*/ 30958 w 684428"/>
                    <a:gd name="connsiteY3" fmla="*/ 2590800 h 2695441"/>
                    <a:gd name="connsiteX4" fmla="*/ 30958 w 684428"/>
                    <a:gd name="connsiteY4" fmla="*/ 2599267 h 2695441"/>
                    <a:gd name="connsiteX0" fmla="*/ 56207 w 675810"/>
                    <a:gd name="connsiteY0" fmla="*/ 0 h 2675258"/>
                    <a:gd name="connsiteX1" fmla="*/ 674273 w 675810"/>
                    <a:gd name="connsiteY1" fmla="*/ 838200 h 2675258"/>
                    <a:gd name="connsiteX2" fmla="*/ 225540 w 675810"/>
                    <a:gd name="connsiteY2" fmla="*/ 1764525 h 2675258"/>
                    <a:gd name="connsiteX3" fmla="*/ 22340 w 675810"/>
                    <a:gd name="connsiteY3" fmla="*/ 2590800 h 2675258"/>
                    <a:gd name="connsiteX4" fmla="*/ 22340 w 675810"/>
                    <a:gd name="connsiteY4" fmla="*/ 2599267 h 2675258"/>
                    <a:gd name="connsiteX0" fmla="*/ 56207 w 556039"/>
                    <a:gd name="connsiteY0" fmla="*/ 0 h 2675258"/>
                    <a:gd name="connsiteX1" fmla="*/ 553969 w 556039"/>
                    <a:gd name="connsiteY1" fmla="*/ 1067624 h 2675258"/>
                    <a:gd name="connsiteX2" fmla="*/ 225540 w 556039"/>
                    <a:gd name="connsiteY2" fmla="*/ 1764525 h 2675258"/>
                    <a:gd name="connsiteX3" fmla="*/ 22340 w 556039"/>
                    <a:gd name="connsiteY3" fmla="*/ 2590800 h 2675258"/>
                    <a:gd name="connsiteX4" fmla="*/ 22340 w 556039"/>
                    <a:gd name="connsiteY4" fmla="*/ 2599267 h 2675258"/>
                    <a:gd name="connsiteX0" fmla="*/ 56207 w 567870"/>
                    <a:gd name="connsiteY0" fmla="*/ 0 h 2675258"/>
                    <a:gd name="connsiteX1" fmla="*/ 553969 w 567870"/>
                    <a:gd name="connsiteY1" fmla="*/ 1067624 h 2675258"/>
                    <a:gd name="connsiteX2" fmla="*/ 225540 w 567870"/>
                    <a:gd name="connsiteY2" fmla="*/ 1764525 h 2675258"/>
                    <a:gd name="connsiteX3" fmla="*/ 22340 w 567870"/>
                    <a:gd name="connsiteY3" fmla="*/ 2590800 h 2675258"/>
                    <a:gd name="connsiteX4" fmla="*/ 22340 w 567870"/>
                    <a:gd name="connsiteY4" fmla="*/ 2599267 h 2675258"/>
                    <a:gd name="connsiteX0" fmla="*/ 56207 w 557133"/>
                    <a:gd name="connsiteY0" fmla="*/ 0 h 2675258"/>
                    <a:gd name="connsiteX1" fmla="*/ 553969 w 557133"/>
                    <a:gd name="connsiteY1" fmla="*/ 1067624 h 2675258"/>
                    <a:gd name="connsiteX2" fmla="*/ 225540 w 557133"/>
                    <a:gd name="connsiteY2" fmla="*/ 1764525 h 2675258"/>
                    <a:gd name="connsiteX3" fmla="*/ 22340 w 557133"/>
                    <a:gd name="connsiteY3" fmla="*/ 2590800 h 2675258"/>
                    <a:gd name="connsiteX4" fmla="*/ 22340 w 557133"/>
                    <a:gd name="connsiteY4" fmla="*/ 2599267 h 2675258"/>
                    <a:gd name="connsiteX0" fmla="*/ 56207 w 559352"/>
                    <a:gd name="connsiteY0" fmla="*/ 0 h 2711949"/>
                    <a:gd name="connsiteX1" fmla="*/ 553969 w 559352"/>
                    <a:gd name="connsiteY1" fmla="*/ 1067624 h 2711949"/>
                    <a:gd name="connsiteX2" fmla="*/ 225540 w 559352"/>
                    <a:gd name="connsiteY2" fmla="*/ 1764525 h 2711949"/>
                    <a:gd name="connsiteX3" fmla="*/ 557133 w 559352"/>
                    <a:gd name="connsiteY3" fmla="*/ 2675258 h 2711949"/>
                    <a:gd name="connsiteX4" fmla="*/ 22340 w 559352"/>
                    <a:gd name="connsiteY4" fmla="*/ 2590800 h 2711949"/>
                    <a:gd name="connsiteX5" fmla="*/ 22340 w 559352"/>
                    <a:gd name="connsiteY5" fmla="*/ 2599267 h 2711949"/>
                    <a:gd name="connsiteX0" fmla="*/ 56207 w 557133"/>
                    <a:gd name="connsiteY0" fmla="*/ 0 h 2675258"/>
                    <a:gd name="connsiteX1" fmla="*/ 553969 w 557133"/>
                    <a:gd name="connsiteY1" fmla="*/ 1067624 h 2675258"/>
                    <a:gd name="connsiteX2" fmla="*/ 225540 w 557133"/>
                    <a:gd name="connsiteY2" fmla="*/ 1764525 h 2675258"/>
                    <a:gd name="connsiteX3" fmla="*/ 55827 w 557133"/>
                    <a:gd name="connsiteY3" fmla="*/ 2132591 h 2675258"/>
                    <a:gd name="connsiteX4" fmla="*/ 22340 w 557133"/>
                    <a:gd name="connsiteY4" fmla="*/ 2590800 h 2675258"/>
                    <a:gd name="connsiteX5" fmla="*/ 22340 w 557133"/>
                    <a:gd name="connsiteY5" fmla="*/ 2599267 h 2675258"/>
                    <a:gd name="connsiteX0" fmla="*/ 37284 w 538272"/>
                    <a:gd name="connsiteY0" fmla="*/ 0 h 2704687"/>
                    <a:gd name="connsiteX1" fmla="*/ 535046 w 538272"/>
                    <a:gd name="connsiteY1" fmla="*/ 1067624 h 2704687"/>
                    <a:gd name="connsiteX2" fmla="*/ 206617 w 538272"/>
                    <a:gd name="connsiteY2" fmla="*/ 1764525 h 2704687"/>
                    <a:gd name="connsiteX3" fmla="*/ 36904 w 538272"/>
                    <a:gd name="connsiteY3" fmla="*/ 2132591 h 2704687"/>
                    <a:gd name="connsiteX4" fmla="*/ 3417 w 538272"/>
                    <a:gd name="connsiteY4" fmla="*/ 2590800 h 2704687"/>
                    <a:gd name="connsiteX5" fmla="*/ 538210 w 538272"/>
                    <a:gd name="connsiteY5" fmla="*/ 2675258 h 2704687"/>
                    <a:gd name="connsiteX0" fmla="*/ 83003 w 583929"/>
                    <a:gd name="connsiteY0" fmla="*/ 0 h 2887861"/>
                    <a:gd name="connsiteX1" fmla="*/ 580765 w 583929"/>
                    <a:gd name="connsiteY1" fmla="*/ 1067624 h 2887861"/>
                    <a:gd name="connsiteX2" fmla="*/ 252336 w 583929"/>
                    <a:gd name="connsiteY2" fmla="*/ 1764525 h 2887861"/>
                    <a:gd name="connsiteX3" fmla="*/ 82623 w 583929"/>
                    <a:gd name="connsiteY3" fmla="*/ 2132591 h 2887861"/>
                    <a:gd name="connsiteX4" fmla="*/ 49136 w 583929"/>
                    <a:gd name="connsiteY4" fmla="*/ 2590800 h 2887861"/>
                    <a:gd name="connsiteX5" fmla="*/ 0 w 583929"/>
                    <a:gd name="connsiteY5" fmla="*/ 2886941 h 2887861"/>
                    <a:gd name="connsiteX0" fmla="*/ 33867 w 534793"/>
                    <a:gd name="connsiteY0" fmla="*/ 0 h 2590800"/>
                    <a:gd name="connsiteX1" fmla="*/ 531629 w 534793"/>
                    <a:gd name="connsiteY1" fmla="*/ 1067624 h 2590800"/>
                    <a:gd name="connsiteX2" fmla="*/ 203200 w 534793"/>
                    <a:gd name="connsiteY2" fmla="*/ 1764525 h 2590800"/>
                    <a:gd name="connsiteX3" fmla="*/ 33487 w 534793"/>
                    <a:gd name="connsiteY3" fmla="*/ 2132591 h 2590800"/>
                    <a:gd name="connsiteX4" fmla="*/ 0 w 534793"/>
                    <a:gd name="connsiteY4" fmla="*/ 2590800 h 2590800"/>
                    <a:gd name="connsiteX0" fmla="*/ 40691 w 541617"/>
                    <a:gd name="connsiteY0" fmla="*/ 0 h 2673631"/>
                    <a:gd name="connsiteX1" fmla="*/ 538453 w 541617"/>
                    <a:gd name="connsiteY1" fmla="*/ 1067624 h 2673631"/>
                    <a:gd name="connsiteX2" fmla="*/ 210024 w 541617"/>
                    <a:gd name="connsiteY2" fmla="*/ 1764525 h 2673631"/>
                    <a:gd name="connsiteX3" fmla="*/ 40311 w 541617"/>
                    <a:gd name="connsiteY3" fmla="*/ 2132591 h 2673631"/>
                    <a:gd name="connsiteX4" fmla="*/ 0 w 541617"/>
                    <a:gd name="connsiteY4" fmla="*/ 2673631 h 2673631"/>
                    <a:gd name="connsiteX0" fmla="*/ 47513 w 548439"/>
                    <a:gd name="connsiteY0" fmla="*/ 0 h 2673632"/>
                    <a:gd name="connsiteX1" fmla="*/ 545275 w 548439"/>
                    <a:gd name="connsiteY1" fmla="*/ 1067624 h 2673632"/>
                    <a:gd name="connsiteX2" fmla="*/ 216846 w 548439"/>
                    <a:gd name="connsiteY2" fmla="*/ 1764525 h 2673632"/>
                    <a:gd name="connsiteX3" fmla="*/ 47133 w 548439"/>
                    <a:gd name="connsiteY3" fmla="*/ 2132591 h 2673632"/>
                    <a:gd name="connsiteX4" fmla="*/ 0 w 548439"/>
                    <a:gd name="connsiteY4" fmla="*/ 2673632 h 2673632"/>
                    <a:gd name="connsiteX0" fmla="*/ 47513 w 548439"/>
                    <a:gd name="connsiteY0" fmla="*/ 0 h 2673632"/>
                    <a:gd name="connsiteX1" fmla="*/ 545275 w 548439"/>
                    <a:gd name="connsiteY1" fmla="*/ 1067624 h 2673632"/>
                    <a:gd name="connsiteX2" fmla="*/ 216846 w 548439"/>
                    <a:gd name="connsiteY2" fmla="*/ 1764525 h 2673632"/>
                    <a:gd name="connsiteX3" fmla="*/ 47133 w 548439"/>
                    <a:gd name="connsiteY3" fmla="*/ 2132591 h 2673632"/>
                    <a:gd name="connsiteX4" fmla="*/ 0 w 548439"/>
                    <a:gd name="connsiteY4" fmla="*/ 2673632 h 2673632"/>
                    <a:gd name="connsiteX0" fmla="*/ 47513 w 550662"/>
                    <a:gd name="connsiteY0" fmla="*/ 0 h 2673632"/>
                    <a:gd name="connsiteX1" fmla="*/ 394087 w 550662"/>
                    <a:gd name="connsiteY1" fmla="*/ 556817 h 2673632"/>
                    <a:gd name="connsiteX2" fmla="*/ 545275 w 550662"/>
                    <a:gd name="connsiteY2" fmla="*/ 1067624 h 2673632"/>
                    <a:gd name="connsiteX3" fmla="*/ 216846 w 550662"/>
                    <a:gd name="connsiteY3" fmla="*/ 1764525 h 2673632"/>
                    <a:gd name="connsiteX4" fmla="*/ 47133 w 550662"/>
                    <a:gd name="connsiteY4" fmla="*/ 2132591 h 2673632"/>
                    <a:gd name="connsiteX5" fmla="*/ 0 w 550662"/>
                    <a:gd name="connsiteY5" fmla="*/ 2673632 h 2673632"/>
                    <a:gd name="connsiteX0" fmla="*/ 47513 w 547769"/>
                    <a:gd name="connsiteY0" fmla="*/ 0 h 2673632"/>
                    <a:gd name="connsiteX1" fmla="*/ 394087 w 547769"/>
                    <a:gd name="connsiteY1" fmla="*/ 556817 h 2673632"/>
                    <a:gd name="connsiteX2" fmla="*/ 545275 w 547769"/>
                    <a:gd name="connsiteY2" fmla="*/ 1067624 h 2673632"/>
                    <a:gd name="connsiteX3" fmla="*/ 283728 w 547769"/>
                    <a:gd name="connsiteY3" fmla="*/ 1588834 h 2673632"/>
                    <a:gd name="connsiteX4" fmla="*/ 47133 w 547769"/>
                    <a:gd name="connsiteY4" fmla="*/ 2132591 h 2673632"/>
                    <a:gd name="connsiteX5" fmla="*/ 0 w 547769"/>
                    <a:gd name="connsiteY5" fmla="*/ 2673632 h 2673632"/>
                    <a:gd name="connsiteX0" fmla="*/ 47513 w 554091"/>
                    <a:gd name="connsiteY0" fmla="*/ 0 h 2673632"/>
                    <a:gd name="connsiteX1" fmla="*/ 394087 w 554091"/>
                    <a:gd name="connsiteY1" fmla="*/ 556817 h 2673632"/>
                    <a:gd name="connsiteX2" fmla="*/ 551742 w 554091"/>
                    <a:gd name="connsiteY2" fmla="*/ 1069408 h 2673632"/>
                    <a:gd name="connsiteX3" fmla="*/ 283728 w 554091"/>
                    <a:gd name="connsiteY3" fmla="*/ 1588834 h 2673632"/>
                    <a:gd name="connsiteX4" fmla="*/ 47133 w 554091"/>
                    <a:gd name="connsiteY4" fmla="*/ 2132591 h 2673632"/>
                    <a:gd name="connsiteX5" fmla="*/ 0 w 554091"/>
                    <a:gd name="connsiteY5" fmla="*/ 2673632 h 2673632"/>
                    <a:gd name="connsiteX0" fmla="*/ 47513 w 552624"/>
                    <a:gd name="connsiteY0" fmla="*/ 0 h 2673632"/>
                    <a:gd name="connsiteX1" fmla="*/ 394087 w 552624"/>
                    <a:gd name="connsiteY1" fmla="*/ 556817 h 2673632"/>
                    <a:gd name="connsiteX2" fmla="*/ 551742 w 552624"/>
                    <a:gd name="connsiteY2" fmla="*/ 1069408 h 2673632"/>
                    <a:gd name="connsiteX3" fmla="*/ 283728 w 552624"/>
                    <a:gd name="connsiteY3" fmla="*/ 1588834 h 2673632"/>
                    <a:gd name="connsiteX4" fmla="*/ 47133 w 552624"/>
                    <a:gd name="connsiteY4" fmla="*/ 2132591 h 2673632"/>
                    <a:gd name="connsiteX5" fmla="*/ 0 w 552624"/>
                    <a:gd name="connsiteY5" fmla="*/ 2673632 h 2673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52624" h="2673632">
                      <a:moveTo>
                        <a:pt x="47513" y="0"/>
                      </a:moveTo>
                      <a:cubicBezTo>
                        <a:pt x="113158" y="92803"/>
                        <a:pt x="311127" y="378880"/>
                        <a:pt x="394087" y="556817"/>
                      </a:cubicBezTo>
                      <a:cubicBezTo>
                        <a:pt x="477047" y="734754"/>
                        <a:pt x="535977" y="895128"/>
                        <a:pt x="551742" y="1069408"/>
                      </a:cubicBezTo>
                      <a:cubicBezTo>
                        <a:pt x="567507" y="1243688"/>
                        <a:pt x="367829" y="1411637"/>
                        <a:pt x="283728" y="1588834"/>
                      </a:cubicBezTo>
                      <a:cubicBezTo>
                        <a:pt x="199627" y="1766031"/>
                        <a:pt x="81000" y="1994879"/>
                        <a:pt x="47133" y="2132591"/>
                      </a:cubicBezTo>
                      <a:cubicBezTo>
                        <a:pt x="13266" y="2270303"/>
                        <a:pt x="4445" y="2604729"/>
                        <a:pt x="0" y="2673632"/>
                      </a:cubicBezTo>
                    </a:path>
                  </a:pathLst>
                </a:custGeom>
                <a:noFill/>
                <a:ln w="28575">
                  <a:solidFill>
                    <a:srgbClr val="E8434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45" name="Conector recto 44">
                  <a:extLst>
                    <a:ext uri="{FF2B5EF4-FFF2-40B4-BE49-F238E27FC236}">
                      <a16:creationId xmlns:a16="http://schemas.microsoft.com/office/drawing/2014/main" id="{850DF00B-4DF3-5396-62CB-A106C5600CE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75074" y="3606137"/>
                  <a:ext cx="0" cy="285074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Conector recto 45">
                  <a:extLst>
                    <a:ext uri="{FF2B5EF4-FFF2-40B4-BE49-F238E27FC236}">
                      <a16:creationId xmlns:a16="http://schemas.microsoft.com/office/drawing/2014/main" id="{F419A04A-F92C-AA54-CF3F-6755A6A9F3B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37995" y="3893214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Elipse 46">
                  <a:extLst>
                    <a:ext uri="{FF2B5EF4-FFF2-40B4-BE49-F238E27FC236}">
                      <a16:creationId xmlns:a16="http://schemas.microsoft.com/office/drawing/2014/main" id="{67EF4502-F1BA-12B0-0E4E-E3FED6F997AC}"/>
                    </a:ext>
                  </a:extLst>
                </p:cNvPr>
                <p:cNvSpPr/>
                <p:nvPr/>
              </p:nvSpPr>
              <p:spPr>
                <a:xfrm>
                  <a:off x="7826729" y="3729424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Elipse 47">
                  <a:extLst>
                    <a:ext uri="{FF2B5EF4-FFF2-40B4-BE49-F238E27FC236}">
                      <a16:creationId xmlns:a16="http://schemas.microsoft.com/office/drawing/2014/main" id="{495EB8D2-1F77-250B-A3E1-A2F291BF1BDF}"/>
                    </a:ext>
                  </a:extLst>
                </p:cNvPr>
                <p:cNvSpPr/>
                <p:nvPr/>
              </p:nvSpPr>
              <p:spPr>
                <a:xfrm>
                  <a:off x="7825267" y="3584665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Elipse 48">
                  <a:extLst>
                    <a:ext uri="{FF2B5EF4-FFF2-40B4-BE49-F238E27FC236}">
                      <a16:creationId xmlns:a16="http://schemas.microsoft.com/office/drawing/2014/main" id="{1FE1426D-4FC8-B82F-98FA-776407249248}"/>
                    </a:ext>
                  </a:extLst>
                </p:cNvPr>
                <p:cNvSpPr/>
                <p:nvPr/>
              </p:nvSpPr>
              <p:spPr>
                <a:xfrm>
                  <a:off x="7825267" y="3448775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Elipse 49">
                  <a:extLst>
                    <a:ext uri="{FF2B5EF4-FFF2-40B4-BE49-F238E27FC236}">
                      <a16:creationId xmlns:a16="http://schemas.microsoft.com/office/drawing/2014/main" id="{ABF97BC8-1A40-865C-F2BF-8BCA829E9B03}"/>
                    </a:ext>
                  </a:extLst>
                </p:cNvPr>
                <p:cNvSpPr/>
                <p:nvPr/>
              </p:nvSpPr>
              <p:spPr>
                <a:xfrm>
                  <a:off x="7823805" y="3304016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51" name="Conector recto 50">
                  <a:extLst>
                    <a:ext uri="{FF2B5EF4-FFF2-40B4-BE49-F238E27FC236}">
                      <a16:creationId xmlns:a16="http://schemas.microsoft.com/office/drawing/2014/main" id="{206F51E1-1741-FA96-EED6-FB21D2C03AC7}"/>
                    </a:ext>
                  </a:extLst>
                </p:cNvPr>
                <p:cNvCxnSpPr>
                  <a:cxnSpLocks/>
                  <a:endCxn id="21" idx="0"/>
                </p:cNvCxnSpPr>
                <p:nvPr/>
              </p:nvCxnSpPr>
              <p:spPr>
                <a:xfrm>
                  <a:off x="4198692" y="2579803"/>
                  <a:ext cx="3251" cy="586288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Conector recto 51">
                  <a:extLst>
                    <a:ext uri="{FF2B5EF4-FFF2-40B4-BE49-F238E27FC236}">
                      <a16:creationId xmlns:a16="http://schemas.microsoft.com/office/drawing/2014/main" id="{9AEDB364-5374-BD7F-79FE-0F4FB711BB6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69949" y="2579803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Conector recto 52">
                  <a:extLst>
                    <a:ext uri="{FF2B5EF4-FFF2-40B4-BE49-F238E27FC236}">
                      <a16:creationId xmlns:a16="http://schemas.microsoft.com/office/drawing/2014/main" id="{736CEE8B-CD9E-AA29-C255-A213D76E9E4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98692" y="3604564"/>
                  <a:ext cx="0" cy="285074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Conector recto 53">
                  <a:extLst>
                    <a:ext uri="{FF2B5EF4-FFF2-40B4-BE49-F238E27FC236}">
                      <a16:creationId xmlns:a16="http://schemas.microsoft.com/office/drawing/2014/main" id="{1EA14B71-A3F8-B4BD-C084-4D1F4FAB03D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69714" y="3889638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Conector recto 54">
                  <a:extLst>
                    <a:ext uri="{FF2B5EF4-FFF2-40B4-BE49-F238E27FC236}">
                      <a16:creationId xmlns:a16="http://schemas.microsoft.com/office/drawing/2014/main" id="{BAAE4B0F-DA21-563C-BE2F-0B7221605FA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07119" y="3022677"/>
                  <a:ext cx="1757" cy="434147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Conector recto 55">
                  <a:extLst>
                    <a:ext uri="{FF2B5EF4-FFF2-40B4-BE49-F238E27FC236}">
                      <a16:creationId xmlns:a16="http://schemas.microsoft.com/office/drawing/2014/main" id="{383153F8-6A87-53CB-3AFC-F04C881F7B8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74215" y="3022677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Conector recto 56">
                  <a:extLst>
                    <a:ext uri="{FF2B5EF4-FFF2-40B4-BE49-F238E27FC236}">
                      <a16:creationId xmlns:a16="http://schemas.microsoft.com/office/drawing/2014/main" id="{E418B014-DC71-35BC-CAFB-0B288A2E436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07119" y="3741515"/>
                  <a:ext cx="0" cy="146354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Conector recto 57">
                  <a:extLst>
                    <a:ext uri="{FF2B5EF4-FFF2-40B4-BE49-F238E27FC236}">
                      <a16:creationId xmlns:a16="http://schemas.microsoft.com/office/drawing/2014/main" id="{D7FF70EF-159E-D912-C20A-97D4AE3180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73688" y="3887846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Conector recto 58">
                  <a:extLst>
                    <a:ext uri="{FF2B5EF4-FFF2-40B4-BE49-F238E27FC236}">
                      <a16:creationId xmlns:a16="http://schemas.microsoft.com/office/drawing/2014/main" id="{050A1546-C0BE-3564-842F-6D7DF8C3F45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31129" y="3604564"/>
                  <a:ext cx="0" cy="130778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Conector recto 59">
                  <a:extLst>
                    <a:ext uri="{FF2B5EF4-FFF2-40B4-BE49-F238E27FC236}">
                      <a16:creationId xmlns:a16="http://schemas.microsoft.com/office/drawing/2014/main" id="{D330E965-45DD-9464-CCAA-C8FE4A21A52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598900" y="3606137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Conector recto 60">
                  <a:extLst>
                    <a:ext uri="{FF2B5EF4-FFF2-40B4-BE49-F238E27FC236}">
                      <a16:creationId xmlns:a16="http://schemas.microsoft.com/office/drawing/2014/main" id="{A345260D-FDFA-1E9C-0865-7AC97340FFC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56110" y="3967922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Conector recto 61">
                  <a:extLst>
                    <a:ext uri="{FF2B5EF4-FFF2-40B4-BE49-F238E27FC236}">
                      <a16:creationId xmlns:a16="http://schemas.microsoft.com/office/drawing/2014/main" id="{3CD2C4A4-6CF6-6E07-6E23-D74BB0B3CCB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78884" y="3967922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Conector recto 62">
                  <a:extLst>
                    <a:ext uri="{FF2B5EF4-FFF2-40B4-BE49-F238E27FC236}">
                      <a16:creationId xmlns:a16="http://schemas.microsoft.com/office/drawing/2014/main" id="{99327F32-FCEE-F44B-8F82-F6408B7742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96417" y="3967922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Conector recto 63">
                  <a:extLst>
                    <a:ext uri="{FF2B5EF4-FFF2-40B4-BE49-F238E27FC236}">
                      <a16:creationId xmlns:a16="http://schemas.microsoft.com/office/drawing/2014/main" id="{14D69954-E1C0-0E49-4B1E-3455DFE8E01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05917" y="3968457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Conector recto 64">
                  <a:extLst>
                    <a:ext uri="{FF2B5EF4-FFF2-40B4-BE49-F238E27FC236}">
                      <a16:creationId xmlns:a16="http://schemas.microsoft.com/office/drawing/2014/main" id="{F819418F-69B5-9993-806F-9C297D4491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36547" y="3972267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Conector recto 65">
                  <a:extLst>
                    <a:ext uri="{FF2B5EF4-FFF2-40B4-BE49-F238E27FC236}">
                      <a16:creationId xmlns:a16="http://schemas.microsoft.com/office/drawing/2014/main" id="{526FE1BA-545B-F099-532C-D94414557C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848127" y="3972267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Conector recto 66">
                  <a:extLst>
                    <a:ext uri="{FF2B5EF4-FFF2-40B4-BE49-F238E27FC236}">
                      <a16:creationId xmlns:a16="http://schemas.microsoft.com/office/drawing/2014/main" id="{28CC6933-11DD-2935-00AB-0E3BC360BA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887846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Conector recto 67">
                  <a:extLst>
                    <a:ext uri="{FF2B5EF4-FFF2-40B4-BE49-F238E27FC236}">
                      <a16:creationId xmlns:a16="http://schemas.microsoft.com/office/drawing/2014/main" id="{E98A1CBE-EFD7-E079-C38C-A28266A605F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742664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Conector recto 68">
                  <a:extLst>
                    <a:ext uri="{FF2B5EF4-FFF2-40B4-BE49-F238E27FC236}">
                      <a16:creationId xmlns:a16="http://schemas.microsoft.com/office/drawing/2014/main" id="{6C4262FE-47F2-FE20-074F-103851D9666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597480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Conector recto 69">
                  <a:extLst>
                    <a:ext uri="{FF2B5EF4-FFF2-40B4-BE49-F238E27FC236}">
                      <a16:creationId xmlns:a16="http://schemas.microsoft.com/office/drawing/2014/main" id="{A99DF7A6-66E7-83BC-31CC-BD73F3AF445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452296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Conector recto 70">
                  <a:extLst>
                    <a:ext uri="{FF2B5EF4-FFF2-40B4-BE49-F238E27FC236}">
                      <a16:creationId xmlns:a16="http://schemas.microsoft.com/office/drawing/2014/main" id="{324EE345-6CB3-E7C2-937C-76752FC42AD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307112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Conector recto 71">
                  <a:extLst>
                    <a:ext uri="{FF2B5EF4-FFF2-40B4-BE49-F238E27FC236}">
                      <a16:creationId xmlns:a16="http://schemas.microsoft.com/office/drawing/2014/main" id="{91A3C48B-458F-D277-2CD6-775A381E1C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161928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Conector recto 72">
                  <a:extLst>
                    <a:ext uri="{FF2B5EF4-FFF2-40B4-BE49-F238E27FC236}">
                      <a16:creationId xmlns:a16="http://schemas.microsoft.com/office/drawing/2014/main" id="{5B96FF5C-C0DD-E211-8045-DF05B8149C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016744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Conector recto 73">
                  <a:extLst>
                    <a:ext uri="{FF2B5EF4-FFF2-40B4-BE49-F238E27FC236}">
                      <a16:creationId xmlns:a16="http://schemas.microsoft.com/office/drawing/2014/main" id="{66F9B213-B23C-BEFE-6918-3C6DA49FC89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871560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Conector recto 74">
                  <a:extLst>
                    <a:ext uri="{FF2B5EF4-FFF2-40B4-BE49-F238E27FC236}">
                      <a16:creationId xmlns:a16="http://schemas.microsoft.com/office/drawing/2014/main" id="{333791A4-AE2B-34EF-CB1C-2FFC3628C01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726376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Conector recto 75">
                  <a:extLst>
                    <a:ext uri="{FF2B5EF4-FFF2-40B4-BE49-F238E27FC236}">
                      <a16:creationId xmlns:a16="http://schemas.microsoft.com/office/drawing/2014/main" id="{683715F0-47E3-275F-3838-BDA742478A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581192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Conector recto 76">
                  <a:extLst>
                    <a:ext uri="{FF2B5EF4-FFF2-40B4-BE49-F238E27FC236}">
                      <a16:creationId xmlns:a16="http://schemas.microsoft.com/office/drawing/2014/main" id="{252E85AF-A739-0502-D99A-65484DCF26D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436008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Conector recto 77">
                  <a:extLst>
                    <a:ext uri="{FF2B5EF4-FFF2-40B4-BE49-F238E27FC236}">
                      <a16:creationId xmlns:a16="http://schemas.microsoft.com/office/drawing/2014/main" id="{26DD8F57-7DAD-57A2-E0D9-40F0BB834F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290824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Conector recto 78">
                  <a:extLst>
                    <a:ext uri="{FF2B5EF4-FFF2-40B4-BE49-F238E27FC236}">
                      <a16:creationId xmlns:a16="http://schemas.microsoft.com/office/drawing/2014/main" id="{75A0AEC6-A3D8-3CF9-42E6-8A4631E6D5C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145640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CuadroTexto 79">
                  <a:extLst>
                    <a:ext uri="{FF2B5EF4-FFF2-40B4-BE49-F238E27FC236}">
                      <a16:creationId xmlns:a16="http://schemas.microsoft.com/office/drawing/2014/main" id="{50DB3603-C9BA-17DF-B9C6-37B34126B85C}"/>
                    </a:ext>
                  </a:extLst>
                </p:cNvPr>
                <p:cNvSpPr txBox="1"/>
                <p:nvPr/>
              </p:nvSpPr>
              <p:spPr>
                <a:xfrm>
                  <a:off x="462484" y="3578855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CuadroTexto 80">
                  <a:extLst>
                    <a:ext uri="{FF2B5EF4-FFF2-40B4-BE49-F238E27FC236}">
                      <a16:creationId xmlns:a16="http://schemas.microsoft.com/office/drawing/2014/main" id="{4A5ACB1F-9BAA-719C-4A5E-4FE4EB65973E}"/>
                    </a:ext>
                  </a:extLst>
                </p:cNvPr>
                <p:cNvSpPr txBox="1"/>
                <p:nvPr/>
              </p:nvSpPr>
              <p:spPr>
                <a:xfrm>
                  <a:off x="462484" y="3724060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CuadroTexto 81">
                  <a:extLst>
                    <a:ext uri="{FF2B5EF4-FFF2-40B4-BE49-F238E27FC236}">
                      <a16:creationId xmlns:a16="http://schemas.microsoft.com/office/drawing/2014/main" id="{768533C1-BFBD-B9B6-F712-28DC7E8BBD96}"/>
                    </a:ext>
                  </a:extLst>
                </p:cNvPr>
                <p:cNvSpPr txBox="1"/>
                <p:nvPr/>
              </p:nvSpPr>
              <p:spPr>
                <a:xfrm>
                  <a:off x="462484" y="3433647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CuadroTexto 82">
                  <a:extLst>
                    <a:ext uri="{FF2B5EF4-FFF2-40B4-BE49-F238E27FC236}">
                      <a16:creationId xmlns:a16="http://schemas.microsoft.com/office/drawing/2014/main" id="{61B1D2A3-A951-7207-EC14-6A06B32D83BD}"/>
                    </a:ext>
                  </a:extLst>
                </p:cNvPr>
                <p:cNvSpPr txBox="1"/>
                <p:nvPr/>
              </p:nvSpPr>
              <p:spPr>
                <a:xfrm>
                  <a:off x="462484" y="3288439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3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CuadroTexto 83">
                  <a:extLst>
                    <a:ext uri="{FF2B5EF4-FFF2-40B4-BE49-F238E27FC236}">
                      <a16:creationId xmlns:a16="http://schemas.microsoft.com/office/drawing/2014/main" id="{258304F6-60E5-E686-B7A7-52B0F6E5B70A}"/>
                    </a:ext>
                  </a:extLst>
                </p:cNvPr>
                <p:cNvSpPr txBox="1"/>
                <p:nvPr/>
              </p:nvSpPr>
              <p:spPr>
                <a:xfrm>
                  <a:off x="462484" y="3143231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CuadroTexto 84">
                  <a:extLst>
                    <a:ext uri="{FF2B5EF4-FFF2-40B4-BE49-F238E27FC236}">
                      <a16:creationId xmlns:a16="http://schemas.microsoft.com/office/drawing/2014/main" id="{8D0B898A-39A2-17D1-BF2A-2A6F9F60B719}"/>
                    </a:ext>
                  </a:extLst>
                </p:cNvPr>
                <p:cNvSpPr txBox="1"/>
                <p:nvPr/>
              </p:nvSpPr>
              <p:spPr>
                <a:xfrm>
                  <a:off x="462484" y="2852815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CuadroTexto 85">
                  <a:extLst>
                    <a:ext uri="{FF2B5EF4-FFF2-40B4-BE49-F238E27FC236}">
                      <a16:creationId xmlns:a16="http://schemas.microsoft.com/office/drawing/2014/main" id="{BF066656-CA50-3223-2F5E-E9BDF9D7B675}"/>
                    </a:ext>
                  </a:extLst>
                </p:cNvPr>
                <p:cNvSpPr txBox="1"/>
                <p:nvPr/>
              </p:nvSpPr>
              <p:spPr>
                <a:xfrm>
                  <a:off x="462484" y="2998023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5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CuadroTexto 86">
                  <a:extLst>
                    <a:ext uri="{FF2B5EF4-FFF2-40B4-BE49-F238E27FC236}">
                      <a16:creationId xmlns:a16="http://schemas.microsoft.com/office/drawing/2014/main" id="{8A03A9B5-E31C-BE80-9E56-FBFD41CA9851}"/>
                    </a:ext>
                  </a:extLst>
                </p:cNvPr>
                <p:cNvSpPr txBox="1"/>
                <p:nvPr/>
              </p:nvSpPr>
              <p:spPr>
                <a:xfrm>
                  <a:off x="462484" y="2707607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7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CuadroTexto 87">
                  <a:extLst>
                    <a:ext uri="{FF2B5EF4-FFF2-40B4-BE49-F238E27FC236}">
                      <a16:creationId xmlns:a16="http://schemas.microsoft.com/office/drawing/2014/main" id="{84AE24B9-4764-5F44-0676-7786742E49F4}"/>
                    </a:ext>
                  </a:extLst>
                </p:cNvPr>
                <p:cNvSpPr txBox="1"/>
                <p:nvPr/>
              </p:nvSpPr>
              <p:spPr>
                <a:xfrm>
                  <a:off x="462484" y="2562399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8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CuadroTexto 88">
                  <a:extLst>
                    <a:ext uri="{FF2B5EF4-FFF2-40B4-BE49-F238E27FC236}">
                      <a16:creationId xmlns:a16="http://schemas.microsoft.com/office/drawing/2014/main" id="{2B8714AA-D0C3-6E4F-E379-5C988C91D48A}"/>
                    </a:ext>
                  </a:extLst>
                </p:cNvPr>
                <p:cNvSpPr txBox="1"/>
                <p:nvPr/>
              </p:nvSpPr>
              <p:spPr>
                <a:xfrm>
                  <a:off x="408242" y="2271983"/>
                  <a:ext cx="323404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0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CuadroTexto 89">
                  <a:extLst>
                    <a:ext uri="{FF2B5EF4-FFF2-40B4-BE49-F238E27FC236}">
                      <a16:creationId xmlns:a16="http://schemas.microsoft.com/office/drawing/2014/main" id="{43613907-5CA3-992C-06EE-E1368FFB3A67}"/>
                    </a:ext>
                  </a:extLst>
                </p:cNvPr>
                <p:cNvSpPr txBox="1"/>
                <p:nvPr/>
              </p:nvSpPr>
              <p:spPr>
                <a:xfrm>
                  <a:off x="466769" y="2417191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9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CuadroTexto 90">
                  <a:extLst>
                    <a:ext uri="{FF2B5EF4-FFF2-40B4-BE49-F238E27FC236}">
                      <a16:creationId xmlns:a16="http://schemas.microsoft.com/office/drawing/2014/main" id="{B95B135F-68D4-43D0-EA57-08405756D59F}"/>
                    </a:ext>
                  </a:extLst>
                </p:cNvPr>
                <p:cNvSpPr txBox="1"/>
                <p:nvPr/>
              </p:nvSpPr>
              <p:spPr>
                <a:xfrm>
                  <a:off x="404777" y="2126775"/>
                  <a:ext cx="323404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1</a:t>
                  </a:r>
                  <a:endParaRPr kumimoji="0" lang="es-E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CuadroTexto 91">
                  <a:extLst>
                    <a:ext uri="{FF2B5EF4-FFF2-40B4-BE49-F238E27FC236}">
                      <a16:creationId xmlns:a16="http://schemas.microsoft.com/office/drawing/2014/main" id="{640F80F9-7392-00BF-4798-CC919BE9C840}"/>
                    </a:ext>
                  </a:extLst>
                </p:cNvPr>
                <p:cNvSpPr txBox="1"/>
                <p:nvPr/>
              </p:nvSpPr>
              <p:spPr>
                <a:xfrm rot="16200000">
                  <a:off x="-435293" y="2904304"/>
                  <a:ext cx="1488888" cy="24740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10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Puntuación LSR media compuesta</a:t>
                  </a:r>
                  <a:endParaRPr kumimoji="0" lang="es-ES" sz="1067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" name="CuadroTexto 9">
                <a:extLst>
                  <a:ext uri="{FF2B5EF4-FFF2-40B4-BE49-F238E27FC236}">
                    <a16:creationId xmlns:a16="http://schemas.microsoft.com/office/drawing/2014/main" id="{376D24D1-095A-59ED-0602-1C527CBD23BC}"/>
                  </a:ext>
                </a:extLst>
              </p:cNvPr>
              <p:cNvSpPr txBox="1"/>
              <p:nvPr/>
            </p:nvSpPr>
            <p:spPr>
              <a:xfrm>
                <a:off x="726513" y="1441163"/>
                <a:ext cx="242284" cy="20066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2</a:t>
                </a:r>
                <a:endParaRPr kumimoji="0" lang="es-ES" sz="1067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276874F7-7D0D-28E2-41CF-E06B744C9740}"/>
                </a:ext>
              </a:extLst>
            </p:cNvPr>
            <p:cNvSpPr txBox="1"/>
            <p:nvPr/>
          </p:nvSpPr>
          <p:spPr>
            <a:xfrm>
              <a:off x="3050858" y="4219876"/>
              <a:ext cx="701268" cy="1821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67" b="1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ía de visita</a:t>
              </a:r>
              <a:endParaRPr kumimoji="0" lang="es-ES" sz="1067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3" name="Imagen 92">
            <a:extLst>
              <a:ext uri="{FF2B5EF4-FFF2-40B4-BE49-F238E27FC236}">
                <a16:creationId xmlns:a16="http://schemas.microsoft.com/office/drawing/2014/main" id="{1F907A6D-E9F5-6F4F-0E08-BC00A64D77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5452" y="4928278"/>
            <a:ext cx="5700457" cy="1126101"/>
          </a:xfrm>
          <a:prstGeom prst="rect">
            <a:avLst/>
          </a:prstGeom>
        </p:spPr>
      </p:pic>
      <p:sp>
        <p:nvSpPr>
          <p:cNvPr id="94" name="CuadroTexto 93">
            <a:extLst>
              <a:ext uri="{FF2B5EF4-FFF2-40B4-BE49-F238E27FC236}">
                <a16:creationId xmlns:a16="http://schemas.microsoft.com/office/drawing/2014/main" id="{A0883D03-AF41-DA1E-6EBA-171F5DC38FDF}"/>
              </a:ext>
            </a:extLst>
          </p:cNvPr>
          <p:cNvSpPr txBox="1"/>
          <p:nvPr/>
        </p:nvSpPr>
        <p:spPr>
          <a:xfrm>
            <a:off x="9188416" y="1687390"/>
            <a:ext cx="2786560" cy="9954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67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 pico máximo ocurrió en el </a:t>
            </a:r>
            <a:r>
              <a:rPr kumimoji="0" lang="es-ES" sz="1467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ía 8</a:t>
            </a:r>
            <a:r>
              <a:rPr kumimoji="0" lang="es-ES" sz="1467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postratamiento) y se resolvieron completamente al mes</a:t>
            </a:r>
            <a:r>
              <a:rPr kumimoji="0" lang="es-ES" sz="1467" b="0" i="0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s-ES" sz="1467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  <p:grpSp>
        <p:nvGrpSpPr>
          <p:cNvPr id="95" name="Grupo 94">
            <a:extLst>
              <a:ext uri="{FF2B5EF4-FFF2-40B4-BE49-F238E27FC236}">
                <a16:creationId xmlns:a16="http://schemas.microsoft.com/office/drawing/2014/main" id="{E4D052DA-5E5F-0EA4-B290-5142E0B936EF}"/>
              </a:ext>
            </a:extLst>
          </p:cNvPr>
          <p:cNvGrpSpPr/>
          <p:nvPr/>
        </p:nvGrpSpPr>
        <p:grpSpPr>
          <a:xfrm>
            <a:off x="9368463" y="2924071"/>
            <a:ext cx="2563724" cy="2054057"/>
            <a:chOff x="7026347" y="2193052"/>
            <a:chExt cx="1922793" cy="1269979"/>
          </a:xfrm>
        </p:grpSpPr>
        <p:sp>
          <p:nvSpPr>
            <p:cNvPr id="96" name="Rectángulo 95">
              <a:extLst>
                <a:ext uri="{FF2B5EF4-FFF2-40B4-BE49-F238E27FC236}">
                  <a16:creationId xmlns:a16="http://schemas.microsoft.com/office/drawing/2014/main" id="{984AE826-F2A1-3A9B-BDC8-78DB1C6976F6}"/>
                </a:ext>
              </a:extLst>
            </p:cNvPr>
            <p:cNvSpPr/>
            <p:nvPr/>
          </p:nvSpPr>
          <p:spPr>
            <a:xfrm>
              <a:off x="7026347" y="2193052"/>
              <a:ext cx="1922793" cy="1269979"/>
            </a:xfrm>
            <a:prstGeom prst="rect">
              <a:avLst/>
            </a:prstGeom>
            <a:solidFill>
              <a:srgbClr val="95C7FF">
                <a:alpha val="4117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CuadroTexto 96">
              <a:extLst>
                <a:ext uri="{FF2B5EF4-FFF2-40B4-BE49-F238E27FC236}">
                  <a16:creationId xmlns:a16="http://schemas.microsoft.com/office/drawing/2014/main" id="{3BFF54A2-F975-C720-804B-B4DB087C41DE}"/>
                </a:ext>
              </a:extLst>
            </p:cNvPr>
            <p:cNvSpPr txBox="1"/>
            <p:nvPr/>
          </p:nvSpPr>
          <p:spPr>
            <a:xfrm>
              <a:off x="7075985" y="2265171"/>
              <a:ext cx="1823516" cy="11199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67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das las reacciones locales tuvieron una </a:t>
              </a:r>
              <a:r>
                <a:rPr kumimoji="0" lang="es-ES" sz="1467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uración de resolución </a:t>
              </a:r>
              <a:r>
                <a:rPr kumimoji="0" lang="es-ES" sz="1467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medio </a:t>
              </a:r>
              <a:r>
                <a:rPr kumimoji="0" lang="es-ES" sz="1467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10 días</a:t>
              </a:r>
              <a:r>
                <a:rPr kumimoji="0" lang="es-ES" sz="1467" b="0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s-ES" sz="1467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s-ES" sz="1467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 </a:t>
              </a:r>
              <a:r>
                <a:rPr kumimoji="0" lang="es-ES" sz="1467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 resolvieron espontáneamente</a:t>
              </a:r>
              <a:r>
                <a:rPr kumimoji="0" lang="es-ES" sz="1467" b="0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  <a:r>
                <a:rPr kumimoji="0" lang="es-ES" sz="1467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s-ES" sz="1467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 efectos duraderos.</a:t>
              </a:r>
            </a:p>
          </p:txBody>
        </p:sp>
      </p:grpSp>
      <p:sp>
        <p:nvSpPr>
          <p:cNvPr id="98" name="Marcador de texto 2">
            <a:extLst>
              <a:ext uri="{FF2B5EF4-FFF2-40B4-BE49-F238E27FC236}">
                <a16:creationId xmlns:a16="http://schemas.microsoft.com/office/drawing/2014/main" id="{8A27A614-1544-2868-1B19-2EDF3EA1E6E6}"/>
              </a:ext>
            </a:extLst>
          </p:cNvPr>
          <p:cNvSpPr txBox="1">
            <a:spLocks/>
          </p:cNvSpPr>
          <p:nvPr/>
        </p:nvSpPr>
        <p:spPr>
          <a:xfrm>
            <a:off x="646094" y="180255"/>
            <a:ext cx="8675401" cy="84311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b="1" kern="1200">
                <a:solidFill>
                  <a:srgbClr val="E93C3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/>
              <a:t>¿Creéis que los efectos adversos derivados del tratamiento con tirbanibulina se resuelven solos?</a:t>
            </a:r>
          </a:p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797707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3D80A50E-2077-177D-4DCD-FFCFC2587683}"/>
              </a:ext>
            </a:extLst>
          </p:cNvPr>
          <p:cNvSpPr/>
          <p:nvPr/>
        </p:nvSpPr>
        <p:spPr>
          <a:xfrm>
            <a:off x="1972412" y="6271348"/>
            <a:ext cx="81878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cha técnica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syri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0mg/gr pomada. Disponible en:  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2" tooltip="https://cima.aemps.es/cima/pdfs/es/ft/1211558001/ft_1211558001.pdf"/>
              </a:rPr>
              <a:t>https://cima.aemps.es/cima/pdfs/es/ft/1211558001/FT_1211558001.pdf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último acceso noviembre 2023)</a:t>
            </a:r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52AFB034-2F15-FF37-3FF6-D913C71A8B91}"/>
              </a:ext>
            </a:extLst>
          </p:cNvPr>
          <p:cNvSpPr txBox="1">
            <a:spLocks/>
          </p:cNvSpPr>
          <p:nvPr/>
        </p:nvSpPr>
        <p:spPr>
          <a:xfrm>
            <a:off x="740329" y="899082"/>
            <a:ext cx="9815911" cy="757556"/>
          </a:xfrm>
          <a:prstGeom prst="roundRect">
            <a:avLst/>
          </a:prstGeom>
          <a:solidFill>
            <a:srgbClr val="003466"/>
          </a:solidFill>
          <a:ln w="28575">
            <a:solidFill>
              <a:srgbClr val="F14144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SYRI</a:t>
            </a:r>
            <a:r>
              <a:rPr kumimoji="0" lang="es-ES_tradnl" sz="1867" b="1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®</a:t>
            </a:r>
            <a:r>
              <a:rPr kumimoji="0" lang="es-ES" sz="18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S UN NUEVO TRATAMIENTO TÓPICO PARA LA QUERATOSIS ACTÍNICA</a:t>
            </a:r>
            <a:endParaRPr kumimoji="0" lang="en-GB" sz="1867" b="1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47CC6652-A648-43B2-507D-AA74968A89C5}"/>
              </a:ext>
            </a:extLst>
          </p:cNvPr>
          <p:cNvGrpSpPr/>
          <p:nvPr/>
        </p:nvGrpSpPr>
        <p:grpSpPr>
          <a:xfrm>
            <a:off x="982717" y="1811145"/>
            <a:ext cx="3624216" cy="3048992"/>
            <a:chOff x="5153402" y="1755973"/>
            <a:chExt cx="3316804" cy="2856488"/>
          </a:xfrm>
        </p:grpSpPr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5704BE7F-2819-145B-556E-900E131788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915" r="13948" b="2796"/>
            <a:stretch/>
          </p:blipFill>
          <p:spPr>
            <a:xfrm>
              <a:off x="5153402" y="1755973"/>
              <a:ext cx="3262316" cy="2856488"/>
            </a:xfrm>
            <a:prstGeom prst="rect">
              <a:avLst/>
            </a:prstGeom>
          </p:spPr>
        </p:pic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F3531888-C7DA-1FE4-8272-836D30095E5A}"/>
                </a:ext>
              </a:extLst>
            </p:cNvPr>
            <p:cNvSpPr/>
            <p:nvPr/>
          </p:nvSpPr>
          <p:spPr>
            <a:xfrm>
              <a:off x="7849034" y="1822089"/>
              <a:ext cx="621172" cy="7101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30B53E76-D334-32AF-6552-03588594CF07}"/>
                </a:ext>
              </a:extLst>
            </p:cNvPr>
            <p:cNvSpPr/>
            <p:nvPr/>
          </p:nvSpPr>
          <p:spPr>
            <a:xfrm rot="20244791">
              <a:off x="7694249" y="1923805"/>
              <a:ext cx="440871" cy="983994"/>
            </a:xfrm>
            <a:prstGeom prst="ellipse">
              <a:avLst/>
            </a:prstGeom>
            <a:solidFill>
              <a:srgbClr val="E843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0AEF892B-C18D-C87D-2A53-4473A687CCE2}"/>
                </a:ext>
              </a:extLst>
            </p:cNvPr>
            <p:cNvSpPr/>
            <p:nvPr/>
          </p:nvSpPr>
          <p:spPr>
            <a:xfrm>
              <a:off x="8249734" y="2895439"/>
              <a:ext cx="191247" cy="1321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" name="CuadroTexto 10">
            <a:extLst>
              <a:ext uri="{FF2B5EF4-FFF2-40B4-BE49-F238E27FC236}">
                <a16:creationId xmlns:a16="http://schemas.microsoft.com/office/drawing/2014/main" id="{5409EFAE-EC36-3069-2DAA-70B1EB57A681}"/>
              </a:ext>
            </a:extLst>
          </p:cNvPr>
          <p:cNvSpPr txBox="1"/>
          <p:nvPr/>
        </p:nvSpPr>
        <p:spPr>
          <a:xfrm>
            <a:off x="4959292" y="2372636"/>
            <a:ext cx="6626551" cy="20709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 marR="0" lvl="0" indent="-228594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67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ncipio activo: </a:t>
            </a:r>
            <a:r>
              <a:rPr kumimoji="0" lang="es-ES" sz="1867" b="1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rbanibulina</a:t>
            </a:r>
            <a:endParaRPr kumimoji="0" lang="es-ES" sz="1867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28594" marR="0" lvl="0" indent="-228594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67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mada, </a:t>
            </a:r>
            <a:r>
              <a:rPr kumimoji="0" lang="es-ES" sz="1867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sobres monodosis</a:t>
            </a:r>
            <a:r>
              <a:rPr kumimoji="0" lang="es-ES" sz="1867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ra uso individual</a:t>
            </a:r>
          </a:p>
          <a:p>
            <a:pPr marL="228594" marR="0" lvl="0" indent="-228594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67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tamiento de 25 cm</a:t>
            </a:r>
            <a:r>
              <a:rPr kumimoji="0" lang="es-ES" sz="1867" b="0" i="0" u="none" strike="noStrike" kern="1200" cap="none" spc="0" normalizeH="0" baseline="3000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s-ES" sz="1867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n </a:t>
            </a:r>
            <a:r>
              <a:rPr kumimoji="0" lang="es-ES" sz="1867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cara o el cuero cabelludo</a:t>
            </a:r>
          </a:p>
          <a:p>
            <a:pPr marL="228594" marR="0" lvl="0" indent="-228594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67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ología: </a:t>
            </a:r>
            <a:r>
              <a:rPr kumimoji="0" lang="es-ES" sz="1867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vez/día </a:t>
            </a:r>
            <a:r>
              <a:rPr kumimoji="0" lang="es-ES" sz="1867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rante</a:t>
            </a:r>
            <a:r>
              <a:rPr kumimoji="0" lang="es-ES" sz="1867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5 días </a:t>
            </a:r>
            <a:r>
              <a:rPr kumimoji="0" lang="es-ES" sz="1867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cutivos</a:t>
            </a:r>
          </a:p>
        </p:txBody>
      </p:sp>
      <p:sp>
        <p:nvSpPr>
          <p:cNvPr id="12" name="Marcador de contenido 4">
            <a:extLst>
              <a:ext uri="{FF2B5EF4-FFF2-40B4-BE49-F238E27FC236}">
                <a16:creationId xmlns:a16="http://schemas.microsoft.com/office/drawing/2014/main" id="{27CD43A8-2C66-C064-29E8-CF6ADD5CD24D}"/>
              </a:ext>
            </a:extLst>
          </p:cNvPr>
          <p:cNvSpPr txBox="1">
            <a:spLocks/>
          </p:cNvSpPr>
          <p:nvPr/>
        </p:nvSpPr>
        <p:spPr>
          <a:xfrm>
            <a:off x="1204477" y="4827105"/>
            <a:ext cx="3402544" cy="757556"/>
          </a:xfrm>
          <a:prstGeom prst="roundRect">
            <a:avLst/>
          </a:prstGeom>
          <a:solidFill>
            <a:srgbClr val="B4E1D6"/>
          </a:solidFill>
          <a:ln w="28575">
            <a:solidFill>
              <a:srgbClr val="003466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67" b="1" i="0" u="none" strike="noStrike" kern="1200" cap="none" spc="0" normalizeH="0" baseline="0" noProof="0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ntos clave de </a:t>
            </a:r>
            <a:r>
              <a:rPr kumimoji="0" lang="es-ES" sz="1867" b="1" i="0" u="none" strike="noStrike" kern="1200" cap="none" spc="0" normalizeH="0" baseline="0" noProof="0" err="1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syri</a:t>
            </a:r>
            <a:r>
              <a:rPr kumimoji="0" lang="es-ES" sz="1867" b="1" i="0" u="none" strike="noStrike" kern="1200" cap="none" spc="0" normalizeH="0" baseline="30000" noProof="0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®</a:t>
            </a:r>
            <a:endParaRPr kumimoji="0" lang="en-GB" sz="1867" b="1" i="0" u="none" strike="noStrike" kern="1200" cap="none" spc="0" normalizeH="0" baseline="30000" noProof="0">
              <a:ln>
                <a:noFill/>
              </a:ln>
              <a:solidFill>
                <a:srgbClr val="0034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614669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F199CBD-3805-F911-BBA3-D769179AEE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2236" y="272823"/>
            <a:ext cx="8966821" cy="1258315"/>
          </a:xfrm>
        </p:spPr>
        <p:txBody>
          <a:bodyPr>
            <a:normAutofit fontScale="92500" lnSpcReduction="20000"/>
          </a:bodyPr>
          <a:lstStyle/>
          <a:p>
            <a:pPr algn="just">
              <a:lnSpc>
                <a:spcPct val="110000"/>
              </a:lnSpc>
            </a:pPr>
            <a:r>
              <a:rPr lang="es-ES" sz="2800"/>
              <a:t>¿Podrían explicarse los beneficios adicionales de </a:t>
            </a:r>
            <a:r>
              <a:rPr lang="es-ES" sz="2800" err="1"/>
              <a:t>tirbanibulina</a:t>
            </a:r>
            <a:r>
              <a:rPr lang="es-ES" sz="2800"/>
              <a:t> en cuanto a la gravedad de los efectos adversos a través de su mecanismo de acción?</a:t>
            </a:r>
          </a:p>
          <a:p>
            <a:pPr algn="just"/>
            <a:endParaRPr lang="es-ES" sz="280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728A8DD-9550-5DF8-EC16-6F0063D72C24}"/>
              </a:ext>
            </a:extLst>
          </p:cNvPr>
          <p:cNvSpPr txBox="1"/>
          <p:nvPr/>
        </p:nvSpPr>
        <p:spPr>
          <a:xfrm>
            <a:off x="786838" y="6263362"/>
            <a:ext cx="9644968" cy="55399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just" defTabSz="914378">
              <a:defRPr/>
            </a:pPr>
            <a:r>
              <a:rPr lang="en-US" sz="750" b="1">
                <a:solidFill>
                  <a:srgbClr val="002060"/>
                </a:solidFill>
                <a:cs typeface="Arial" panose="020B0604020202020204" pitchFamily="34" charset="0"/>
              </a:rPr>
              <a:t>1. </a:t>
            </a:r>
            <a:r>
              <a:rPr lang="en-U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Marson, J., Del Rosso, J., Bhatia, N., &amp; Rigel, D. Considerations in the Management of Actinic Keratosis: The Importance of Adherence and Persistence to Therapy. SKIN The Journal of Cutaneous Medicine, 2021, 5(2), 83–89. </a:t>
            </a:r>
            <a:r>
              <a:rPr lang="es-ES" sz="750" b="1">
                <a:solidFill>
                  <a:srgbClr val="002060"/>
                </a:solidFill>
                <a:cs typeface="Arial" panose="020B0604020202020204" pitchFamily="34" charset="0"/>
              </a:rPr>
              <a:t>2.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Blauvelt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A, et al.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Phase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3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Tirbanibulin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for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Actinic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Keratosis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Group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.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Phase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3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Trials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of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Tirbanibulin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Ointment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for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Actinic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Keratosis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. N Engl J </a:t>
            </a:r>
            <a:r>
              <a:rPr lang="es-E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Med</a:t>
            </a:r>
            <a:r>
              <a:rPr lang="es-E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. 2021 Feb 11;384(6):512-520. </a:t>
            </a:r>
            <a:r>
              <a:rPr lang="es-ES" sz="750" b="1">
                <a:solidFill>
                  <a:srgbClr val="002060"/>
                </a:solidFill>
                <a:cs typeface="Arial" panose="020B0604020202020204" pitchFamily="34" charset="0"/>
              </a:rPr>
              <a:t>3. </a:t>
            </a:r>
            <a:r>
              <a:rPr lang="en-U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Gilaberte Y, Fernández-</a:t>
            </a:r>
            <a:r>
              <a:rPr lang="en-U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Figueras</a:t>
            </a:r>
            <a:r>
              <a:rPr lang="en-U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MT. </a:t>
            </a:r>
            <a:r>
              <a:rPr lang="en-U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Tirbanibulin</a:t>
            </a:r>
            <a:r>
              <a:rPr lang="en-U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: review of its novel mechanism of action and how it fits into the treatment of actinic keratosis. </a:t>
            </a:r>
            <a:r>
              <a:rPr lang="en-U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Actas</a:t>
            </a:r>
            <a:r>
              <a:rPr lang="en-U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n-U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Dermosifiliogr</a:t>
            </a:r>
            <a:r>
              <a:rPr lang="en-U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. 2022 Jan;113(1):58-66. </a:t>
            </a:r>
            <a:r>
              <a:rPr lang="es-ES" sz="750" b="1">
                <a:solidFill>
                  <a:srgbClr val="002060"/>
                </a:solidFill>
                <a:cs typeface="Arial" panose="020B0604020202020204" pitchFamily="34" charset="0"/>
              </a:rPr>
              <a:t>4.</a:t>
            </a:r>
            <a:r>
              <a:rPr lang="en-US" sz="75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en-U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Pellacani</a:t>
            </a:r>
            <a:r>
              <a:rPr lang="en-U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G. et al. Efficacy and safety of </a:t>
            </a:r>
            <a:r>
              <a:rPr lang="en-U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tirbanibulin</a:t>
            </a:r>
            <a:r>
              <a:rPr lang="en-U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1% ointment in actinic keratoses: Data from two phase‐III trials and the real‐life clinical practice presented at the European Academy of Dermatology and Venereology Congress 2022. J </a:t>
            </a:r>
            <a:r>
              <a:rPr lang="en-U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Eur</a:t>
            </a:r>
            <a:r>
              <a:rPr lang="en-U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n-U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Acad</a:t>
            </a:r>
            <a:r>
              <a:rPr lang="en-U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Dermatol </a:t>
            </a:r>
            <a:r>
              <a:rPr lang="en-US" sz="75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Venereol</a:t>
            </a:r>
            <a:r>
              <a:rPr lang="en-US" sz="75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2024; 38(S1):3–15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43F59B6-E185-8E67-9F3A-61ABFAD2AC0F}"/>
              </a:ext>
            </a:extLst>
          </p:cNvPr>
          <p:cNvSpPr txBox="1"/>
          <p:nvPr/>
        </p:nvSpPr>
        <p:spPr>
          <a:xfrm>
            <a:off x="1073474" y="1536273"/>
            <a:ext cx="9213936" cy="26561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  <a:spcAft>
                <a:spcPts val="1800"/>
              </a:spcAft>
            </a:pPr>
            <a:r>
              <a:rPr lang="es-ES">
                <a:solidFill>
                  <a:srgbClr val="002060"/>
                </a:solidFill>
                <a:cs typeface="Arial" panose="020B0604020202020204" pitchFamily="34" charset="0"/>
              </a:rPr>
              <a:t>Podría explicarse ya que… </a:t>
            </a:r>
          </a:p>
          <a:p>
            <a:pPr marL="285750" indent="-285750" algn="just">
              <a:lnSpc>
                <a:spcPct val="120000"/>
              </a:lnSpc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sz="1400">
                <a:solidFill>
                  <a:srgbClr val="002060"/>
                </a:solidFill>
                <a:cs typeface="Arial" panose="020B0604020202020204" pitchFamily="34" charset="0"/>
              </a:rPr>
              <a:t>Los tratamientos que inducen </a:t>
            </a:r>
            <a:r>
              <a:rPr lang="es-ES" sz="1400" b="1">
                <a:solidFill>
                  <a:srgbClr val="002060"/>
                </a:solidFill>
                <a:cs typeface="Arial" panose="020B0604020202020204" pitchFamily="34" charset="0"/>
              </a:rPr>
              <a:t>necrosis </a:t>
            </a:r>
            <a:r>
              <a:rPr lang="es-ES" sz="1400">
                <a:solidFill>
                  <a:srgbClr val="002060"/>
                </a:solidFill>
                <a:cs typeface="Arial" panose="020B0604020202020204" pitchFamily="34" charset="0"/>
              </a:rPr>
              <a:t>están </a:t>
            </a:r>
            <a:r>
              <a:rPr lang="es-ES" sz="1400" b="1">
                <a:solidFill>
                  <a:srgbClr val="002060"/>
                </a:solidFill>
                <a:cs typeface="Arial" panose="020B0604020202020204" pitchFamily="34" charset="0"/>
              </a:rPr>
              <a:t>asociados </a:t>
            </a:r>
            <a:r>
              <a:rPr lang="es-ES" sz="1400">
                <a:solidFill>
                  <a:srgbClr val="002060"/>
                </a:solidFill>
                <a:cs typeface="Arial" panose="020B0604020202020204" pitchFamily="34" charset="0"/>
              </a:rPr>
              <a:t>a la producción de </a:t>
            </a:r>
            <a:r>
              <a:rPr lang="es-ES" sz="1400" b="1">
                <a:solidFill>
                  <a:srgbClr val="002060"/>
                </a:solidFill>
                <a:cs typeface="Arial" panose="020B0604020202020204" pitchFamily="34" charset="0"/>
              </a:rPr>
              <a:t>LSR de moderadas a graves</a:t>
            </a:r>
            <a:r>
              <a:rPr lang="es-ES" sz="1400">
                <a:solidFill>
                  <a:srgbClr val="002060"/>
                </a:solidFill>
                <a:cs typeface="Arial" panose="020B0604020202020204" pitchFamily="34" charset="0"/>
              </a:rPr>
              <a:t>, mientras que los tratamientos que promueven </a:t>
            </a:r>
            <a:r>
              <a:rPr lang="es-ES" sz="1400" b="1">
                <a:solidFill>
                  <a:srgbClr val="002060"/>
                </a:solidFill>
                <a:cs typeface="Arial" panose="020B0604020202020204" pitchFamily="34" charset="0"/>
              </a:rPr>
              <a:t>apoptosis conllevan LSR insignificantes</a:t>
            </a:r>
            <a:r>
              <a:rPr lang="es-ES" sz="1400" b="1" baseline="30000">
                <a:solidFill>
                  <a:srgbClr val="002060"/>
                </a:solidFill>
                <a:cs typeface="Arial" panose="020B0604020202020204" pitchFamily="34" charset="0"/>
              </a:rPr>
              <a:t>1</a:t>
            </a:r>
            <a:r>
              <a:rPr lang="es-ES" sz="1400">
                <a:solidFill>
                  <a:srgbClr val="002060"/>
                </a:solidFill>
                <a:cs typeface="Arial" panose="020B0604020202020204" pitchFamily="34" charset="0"/>
              </a:rPr>
              <a:t>.</a:t>
            </a:r>
          </a:p>
          <a:p>
            <a:pPr marL="285750" indent="-285750" algn="just">
              <a:lnSpc>
                <a:spcPct val="120000"/>
              </a:lnSpc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s-ES" sz="1400">
                <a:solidFill>
                  <a:srgbClr val="002060"/>
                </a:solidFill>
                <a:cs typeface="Arial" panose="020B0604020202020204" pitchFamily="34" charset="0"/>
              </a:rPr>
              <a:t>Así pues, la tirbanibulina, en contraste con otros tratamientos para la QA, induce muerte celular a través de la apoptosis</a:t>
            </a:r>
            <a:r>
              <a:rPr lang="es-ES" sz="1400" b="1" baseline="30000">
                <a:solidFill>
                  <a:srgbClr val="002060"/>
                </a:solidFill>
                <a:cs typeface="Arial" panose="020B0604020202020204" pitchFamily="34" charset="0"/>
              </a:rPr>
              <a:t>2</a:t>
            </a:r>
            <a:r>
              <a:rPr lang="es-ES" sz="1400">
                <a:solidFill>
                  <a:srgbClr val="002060"/>
                </a:solidFill>
                <a:cs typeface="Arial" panose="020B0604020202020204" pitchFamily="34" charset="0"/>
              </a:rPr>
              <a:t>, </a:t>
            </a:r>
            <a:r>
              <a:rPr lang="es-ES" sz="1400" b="1">
                <a:solidFill>
                  <a:srgbClr val="002060"/>
                </a:solidFill>
                <a:cs typeface="Arial" panose="020B0604020202020204" pitchFamily="34" charset="0"/>
              </a:rPr>
              <a:t>minimizando la inflamación y las reacciones locales</a:t>
            </a:r>
            <a:r>
              <a:rPr lang="es-ES" sz="1400">
                <a:solidFill>
                  <a:srgbClr val="002060"/>
                </a:solidFill>
                <a:cs typeface="Arial" panose="020B0604020202020204" pitchFamily="34" charset="0"/>
              </a:rPr>
              <a:t>, y muestra una buena tolerabilidad y un perfil de seguridad favorable</a:t>
            </a:r>
            <a:r>
              <a:rPr lang="es-ES" sz="1400" b="1" baseline="30000">
                <a:solidFill>
                  <a:srgbClr val="002060"/>
                </a:solidFill>
                <a:cs typeface="Arial" panose="020B0604020202020204" pitchFamily="34" charset="0"/>
              </a:rPr>
              <a:t>3</a:t>
            </a:r>
            <a:r>
              <a:rPr lang="es-ES" sz="1400">
                <a:solidFill>
                  <a:srgbClr val="002060"/>
                </a:solidFill>
                <a:cs typeface="Arial" panose="020B0604020202020204" pitchFamily="34" charset="0"/>
              </a:rPr>
              <a:t>.</a:t>
            </a:r>
          </a:p>
          <a:p>
            <a:pPr algn="just"/>
            <a:endParaRPr lang="es-ES" sz="1600">
              <a:solidFill>
                <a:srgbClr val="002060"/>
              </a:solidFill>
              <a:latin typeface="Calibri" panose="020F0502020204030204"/>
            </a:endParaRP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BC93A12A-F1D7-1209-235E-2D5B034AF74B}"/>
              </a:ext>
            </a:extLst>
          </p:cNvPr>
          <p:cNvGrpSpPr/>
          <p:nvPr/>
        </p:nvGrpSpPr>
        <p:grpSpPr>
          <a:xfrm>
            <a:off x="3008293" y="4026379"/>
            <a:ext cx="5892385" cy="1833736"/>
            <a:chOff x="3149807" y="4254979"/>
            <a:chExt cx="5892385" cy="1833736"/>
          </a:xfrm>
        </p:grpSpPr>
        <p:pic>
          <p:nvPicPr>
            <p:cNvPr id="12" name="Picture 2" descr="Details are in the caption following the image">
              <a:extLst>
                <a:ext uri="{FF2B5EF4-FFF2-40B4-BE49-F238E27FC236}">
                  <a16:creationId xmlns:a16="http://schemas.microsoft.com/office/drawing/2014/main" id="{8A5DC105-1CD5-FA53-9002-6393B07AC4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9807" y="4254979"/>
              <a:ext cx="5892385" cy="13316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3245F61E-B97E-D19D-9898-E74538B1DC21}"/>
                </a:ext>
              </a:extLst>
            </p:cNvPr>
            <p:cNvSpPr txBox="1"/>
            <p:nvPr/>
          </p:nvSpPr>
          <p:spPr>
            <a:xfrm>
              <a:off x="4610279" y="5811716"/>
              <a:ext cx="297143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1200">
                  <a:solidFill>
                    <a:srgbClr val="002060"/>
                  </a:solidFill>
                  <a:latin typeface="Calibri" panose="020F0502020204030204"/>
                </a:rPr>
                <a:t>Mecanismo de acción de tirbanibulina.</a:t>
              </a:r>
              <a:r>
                <a:rPr lang="es-ES" sz="1200" b="1" baseline="30000">
                  <a:solidFill>
                    <a:srgbClr val="002060"/>
                  </a:solidFill>
                  <a:cs typeface="Arial" panose="020B0604020202020204" pitchFamily="34" charset="0"/>
                </a:rPr>
                <a:t>4</a:t>
              </a:r>
              <a:endParaRPr lang="es-ES" sz="1200">
                <a:solidFill>
                  <a:srgbClr val="002060"/>
                </a:solidFill>
                <a:latin typeface="Calibri" panose="020F0502020204030204"/>
              </a:endParaRPr>
            </a:p>
          </p:txBody>
        </p:sp>
      </p:grpSp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45172368-D2AF-18BE-D6A5-BABAE0C50278}"/>
              </a:ext>
            </a:extLst>
          </p:cNvPr>
          <p:cNvSpPr/>
          <p:nvPr/>
        </p:nvSpPr>
        <p:spPr>
          <a:xfrm>
            <a:off x="2841171" y="3777343"/>
            <a:ext cx="6342536" cy="1785257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720661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8488CE5-3C25-7739-FB7E-2746452EF5D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196279" y="3007443"/>
            <a:ext cx="5799441" cy="843114"/>
          </a:xfrm>
        </p:spPr>
        <p:txBody>
          <a:bodyPr>
            <a:normAutofit/>
          </a:bodyPr>
          <a:lstStyle/>
          <a:p>
            <a:r>
              <a:rPr lang="es-ES" sz="4000"/>
              <a:t>¡Gracias!</a:t>
            </a:r>
          </a:p>
        </p:txBody>
      </p:sp>
    </p:spTree>
    <p:extLst>
      <p:ext uri="{BB962C8B-B14F-4D97-AF65-F5344CB8AC3E}">
        <p14:creationId xmlns:p14="http://schemas.microsoft.com/office/powerpoint/2010/main" val="118632509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26A77D53-D6B1-7BA4-0B86-EC00ED6415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3369" y="866536"/>
            <a:ext cx="6191605" cy="4591527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93E1E810-76AC-75D0-7407-BB81A0D1A522}"/>
              </a:ext>
            </a:extLst>
          </p:cNvPr>
          <p:cNvSpPr/>
          <p:nvPr/>
        </p:nvSpPr>
        <p:spPr>
          <a:xfrm>
            <a:off x="11217897" y="65988"/>
            <a:ext cx="974103" cy="2073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1501189-561A-DCE5-93D4-CA0F75EF7E15}"/>
              </a:ext>
            </a:extLst>
          </p:cNvPr>
          <p:cNvSpPr txBox="1"/>
          <p:nvPr/>
        </p:nvSpPr>
        <p:spPr>
          <a:xfrm>
            <a:off x="2515621" y="5755566"/>
            <a:ext cx="7562602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933">
                <a:solidFill>
                  <a:srgbClr val="003466"/>
                </a:solidFill>
                <a:latin typeface="Arial"/>
              </a:rPr>
              <a:t>Este medicamento está sujeto a seguimiento adicional, es prioritaria la notificación de sospechas adversas asociadas a este medicamento.</a:t>
            </a:r>
          </a:p>
        </p:txBody>
      </p:sp>
      <p:sp>
        <p:nvSpPr>
          <p:cNvPr id="5" name="Triángulo isósceles 4">
            <a:extLst>
              <a:ext uri="{FF2B5EF4-FFF2-40B4-BE49-F238E27FC236}">
                <a16:creationId xmlns:a16="http://schemas.microsoft.com/office/drawing/2014/main" id="{35765444-9894-724A-CFFB-F5C9835D517F}"/>
              </a:ext>
            </a:extLst>
          </p:cNvPr>
          <p:cNvSpPr/>
          <p:nvPr/>
        </p:nvSpPr>
        <p:spPr>
          <a:xfrm flipV="1">
            <a:off x="2448353" y="5843037"/>
            <a:ext cx="67265" cy="60959"/>
          </a:xfrm>
          <a:prstGeom prst="triangle">
            <a:avLst/>
          </a:prstGeom>
          <a:solidFill>
            <a:schemeClr val="tx1">
              <a:lumMod val="50000"/>
            </a:schemeClr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54769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4822E2C3-9FFF-0D8C-8622-C2C0CC1C5D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751" y="1484029"/>
            <a:ext cx="6394860" cy="4670028"/>
          </a:xfrm>
          <a:prstGeom prst="rect">
            <a:avLst/>
          </a:prstGeom>
        </p:spPr>
      </p:pic>
      <p:sp>
        <p:nvSpPr>
          <p:cNvPr id="6" name="Flecha: doblada hacia arriba 5">
            <a:extLst>
              <a:ext uri="{FF2B5EF4-FFF2-40B4-BE49-F238E27FC236}">
                <a16:creationId xmlns:a16="http://schemas.microsoft.com/office/drawing/2014/main" id="{80848262-8184-FB08-3136-579931D8AD29}"/>
              </a:ext>
            </a:extLst>
          </p:cNvPr>
          <p:cNvSpPr/>
          <p:nvPr/>
        </p:nvSpPr>
        <p:spPr>
          <a:xfrm flipH="1" flipV="1">
            <a:off x="1550322" y="2467655"/>
            <a:ext cx="356049" cy="723119"/>
          </a:xfrm>
          <a:prstGeom prst="bentUp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734F5B05-967C-BF25-3B68-6AEA3CA6C3D5}"/>
              </a:ext>
            </a:extLst>
          </p:cNvPr>
          <p:cNvSpPr/>
          <p:nvPr/>
        </p:nvSpPr>
        <p:spPr>
          <a:xfrm>
            <a:off x="3179524" y="3518400"/>
            <a:ext cx="258945" cy="37796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430FE823-25B5-40CA-B562-D753BCD1BFD4}"/>
              </a:ext>
            </a:extLst>
          </p:cNvPr>
          <p:cNvSpPr/>
          <p:nvPr/>
        </p:nvSpPr>
        <p:spPr>
          <a:xfrm>
            <a:off x="1622353" y="4542180"/>
            <a:ext cx="4898379" cy="88933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7D56B10A-A2E5-7B63-B318-F4821A8CEF16}"/>
              </a:ext>
            </a:extLst>
          </p:cNvPr>
          <p:cNvSpPr/>
          <p:nvPr/>
        </p:nvSpPr>
        <p:spPr>
          <a:xfrm rot="16200000">
            <a:off x="6315222" y="4333170"/>
            <a:ext cx="331703" cy="8631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8990457E-87FF-B16C-A6B3-8E31DA020A8F}"/>
              </a:ext>
            </a:extLst>
          </p:cNvPr>
          <p:cNvSpPr/>
          <p:nvPr/>
        </p:nvSpPr>
        <p:spPr>
          <a:xfrm rot="16200000">
            <a:off x="1499661" y="4336670"/>
            <a:ext cx="331703" cy="7931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lecha: a la derecha 10">
            <a:extLst>
              <a:ext uri="{FF2B5EF4-FFF2-40B4-BE49-F238E27FC236}">
                <a16:creationId xmlns:a16="http://schemas.microsoft.com/office/drawing/2014/main" id="{3A207030-4017-F805-C796-209C805284E9}"/>
              </a:ext>
            </a:extLst>
          </p:cNvPr>
          <p:cNvSpPr/>
          <p:nvPr/>
        </p:nvSpPr>
        <p:spPr>
          <a:xfrm rot="5400000">
            <a:off x="3892304" y="4720176"/>
            <a:ext cx="362561" cy="231077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69C7B37F-B23F-B460-4DDB-4E963937034C}"/>
              </a:ext>
            </a:extLst>
          </p:cNvPr>
          <p:cNvSpPr/>
          <p:nvPr/>
        </p:nvSpPr>
        <p:spPr>
          <a:xfrm>
            <a:off x="5078953" y="2280323"/>
            <a:ext cx="79492" cy="187332"/>
          </a:xfrm>
          <a:prstGeom prst="rect">
            <a:avLst/>
          </a:prstGeom>
          <a:solidFill>
            <a:srgbClr val="EAF4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6893CB35-D1A0-F18A-99C1-922C4672A687}"/>
              </a:ext>
            </a:extLst>
          </p:cNvPr>
          <p:cNvSpPr/>
          <p:nvPr/>
        </p:nvSpPr>
        <p:spPr>
          <a:xfrm>
            <a:off x="6617403" y="3631711"/>
            <a:ext cx="79492" cy="187332"/>
          </a:xfrm>
          <a:prstGeom prst="rect">
            <a:avLst/>
          </a:prstGeom>
          <a:solidFill>
            <a:srgbClr val="EAF4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0568C369-2673-20A9-BBB2-3FE829E39891}"/>
              </a:ext>
            </a:extLst>
          </p:cNvPr>
          <p:cNvSpPr/>
          <p:nvPr/>
        </p:nvSpPr>
        <p:spPr>
          <a:xfrm>
            <a:off x="2821849" y="3653746"/>
            <a:ext cx="79492" cy="187332"/>
          </a:xfrm>
          <a:prstGeom prst="rect">
            <a:avLst/>
          </a:prstGeom>
          <a:solidFill>
            <a:srgbClr val="EAF4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01D6E99A-6651-179F-BE62-77942E42A4ED}"/>
              </a:ext>
            </a:extLst>
          </p:cNvPr>
          <p:cNvSpPr/>
          <p:nvPr/>
        </p:nvSpPr>
        <p:spPr>
          <a:xfrm>
            <a:off x="5050907" y="5469111"/>
            <a:ext cx="79492" cy="187332"/>
          </a:xfrm>
          <a:prstGeom prst="rect">
            <a:avLst/>
          </a:prstGeom>
          <a:solidFill>
            <a:srgbClr val="EAF4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Marcador de contenido 4">
            <a:extLst>
              <a:ext uri="{FF2B5EF4-FFF2-40B4-BE49-F238E27FC236}">
                <a16:creationId xmlns:a16="http://schemas.microsoft.com/office/drawing/2014/main" id="{03427F32-952E-3999-5506-09C3CA5596D3}"/>
              </a:ext>
            </a:extLst>
          </p:cNvPr>
          <p:cNvSpPr txBox="1">
            <a:spLocks/>
          </p:cNvSpPr>
          <p:nvPr/>
        </p:nvSpPr>
        <p:spPr>
          <a:xfrm>
            <a:off x="569751" y="1001631"/>
            <a:ext cx="9791824" cy="451125"/>
          </a:xfrm>
          <a:prstGeom prst="roundRect">
            <a:avLst/>
          </a:prstGeom>
          <a:solidFill>
            <a:srgbClr val="FFEF9A"/>
          </a:solidFill>
          <a:ln w="28575">
            <a:solidFill>
              <a:srgbClr val="F14144"/>
            </a:solidFill>
          </a:ln>
        </p:spPr>
        <p:txBody>
          <a:bodyPr wrap="square" anchor="b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00346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MER INHIBIDOR DE LA POLIMERIZACIÓN DE LA TUBULINA EN EL TRATAMIENTO DE LA QA</a:t>
            </a:r>
            <a:endParaRPr kumimoji="0" lang="en-GB" sz="1600" b="1" i="0" u="none" strike="noStrike" kern="1200" cap="none" spc="0" normalizeH="0" baseline="30000" noProof="0">
              <a:ln>
                <a:noFill/>
              </a:ln>
              <a:solidFill>
                <a:srgbClr val="0034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E44B48B7-6191-B4AC-0814-CECD5CB97735}"/>
              </a:ext>
            </a:extLst>
          </p:cNvPr>
          <p:cNvSpPr txBox="1"/>
          <p:nvPr/>
        </p:nvSpPr>
        <p:spPr>
          <a:xfrm>
            <a:off x="6345697" y="5174994"/>
            <a:ext cx="309347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fil de seguridad favorable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8075E2A8-F4BF-8E66-85C9-F24309831808}"/>
              </a:ext>
            </a:extLst>
          </p:cNvPr>
          <p:cNvSpPr txBox="1"/>
          <p:nvPr/>
        </p:nvSpPr>
        <p:spPr>
          <a:xfrm>
            <a:off x="7961308" y="3357154"/>
            <a:ext cx="38290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ecto antiproliferativo y antitumoral</a:t>
            </a:r>
          </a:p>
        </p:txBody>
      </p:sp>
      <p:sp>
        <p:nvSpPr>
          <p:cNvPr id="19" name="Flecha: a la derecha 18">
            <a:extLst>
              <a:ext uri="{FF2B5EF4-FFF2-40B4-BE49-F238E27FC236}">
                <a16:creationId xmlns:a16="http://schemas.microsoft.com/office/drawing/2014/main" id="{C0B977D6-3209-F7EA-56D4-84CD49086511}"/>
              </a:ext>
            </a:extLst>
          </p:cNvPr>
          <p:cNvSpPr/>
          <p:nvPr/>
        </p:nvSpPr>
        <p:spPr>
          <a:xfrm>
            <a:off x="6992595" y="3363487"/>
            <a:ext cx="805544" cy="366839"/>
          </a:xfrm>
          <a:prstGeom prst="rightArrow">
            <a:avLst/>
          </a:prstGeom>
          <a:solidFill>
            <a:srgbClr val="FFEF9A"/>
          </a:solidFill>
          <a:ln>
            <a:solidFill>
              <a:srgbClr val="F141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Flecha: a la derecha 19">
            <a:extLst>
              <a:ext uri="{FF2B5EF4-FFF2-40B4-BE49-F238E27FC236}">
                <a16:creationId xmlns:a16="http://schemas.microsoft.com/office/drawing/2014/main" id="{724ABAF9-B928-681F-7560-D8356CDA7D48}"/>
              </a:ext>
            </a:extLst>
          </p:cNvPr>
          <p:cNvSpPr/>
          <p:nvPr/>
        </p:nvSpPr>
        <p:spPr>
          <a:xfrm>
            <a:off x="5540152" y="5176033"/>
            <a:ext cx="805544" cy="366839"/>
          </a:xfrm>
          <a:prstGeom prst="rightArrow">
            <a:avLst/>
          </a:prstGeom>
          <a:solidFill>
            <a:srgbClr val="FFEF9A"/>
          </a:solidFill>
          <a:ln>
            <a:solidFill>
              <a:srgbClr val="F141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Flecha: a la derecha 21">
            <a:extLst>
              <a:ext uri="{FF2B5EF4-FFF2-40B4-BE49-F238E27FC236}">
                <a16:creationId xmlns:a16="http://schemas.microsoft.com/office/drawing/2014/main" id="{53ED2493-4096-E113-07AB-2E75889749CC}"/>
              </a:ext>
            </a:extLst>
          </p:cNvPr>
          <p:cNvSpPr/>
          <p:nvPr/>
        </p:nvSpPr>
        <p:spPr>
          <a:xfrm>
            <a:off x="6521516" y="2019390"/>
            <a:ext cx="805544" cy="366839"/>
          </a:xfrm>
          <a:prstGeom prst="rightArrow">
            <a:avLst/>
          </a:prstGeom>
          <a:solidFill>
            <a:srgbClr val="FFEF9A"/>
          </a:solidFill>
          <a:ln>
            <a:solidFill>
              <a:srgbClr val="F141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328CE329-5161-A14C-628F-EAEE8A9D58CA}"/>
              </a:ext>
            </a:extLst>
          </p:cNvPr>
          <p:cNvSpPr/>
          <p:nvPr/>
        </p:nvSpPr>
        <p:spPr>
          <a:xfrm>
            <a:off x="1622353" y="4542182"/>
            <a:ext cx="4898379" cy="88933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A1280E05-9FE9-B79F-6512-455B261EDDC6}"/>
              </a:ext>
            </a:extLst>
          </p:cNvPr>
          <p:cNvSpPr/>
          <p:nvPr/>
        </p:nvSpPr>
        <p:spPr>
          <a:xfrm rot="16200000">
            <a:off x="1499661" y="4336671"/>
            <a:ext cx="331703" cy="7931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Flecha: a la derecha 24">
            <a:extLst>
              <a:ext uri="{FF2B5EF4-FFF2-40B4-BE49-F238E27FC236}">
                <a16:creationId xmlns:a16="http://schemas.microsoft.com/office/drawing/2014/main" id="{FBBEF8A5-76E1-C78B-6EC4-CC3BB61F3BAF}"/>
              </a:ext>
            </a:extLst>
          </p:cNvPr>
          <p:cNvSpPr/>
          <p:nvPr/>
        </p:nvSpPr>
        <p:spPr>
          <a:xfrm rot="5400000">
            <a:off x="3892304" y="4720178"/>
            <a:ext cx="362561" cy="231077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876DC505-334D-845A-02CD-46C2C6757692}"/>
              </a:ext>
            </a:extLst>
          </p:cNvPr>
          <p:cNvSpPr/>
          <p:nvPr/>
        </p:nvSpPr>
        <p:spPr>
          <a:xfrm rot="16200000">
            <a:off x="6315223" y="4333170"/>
            <a:ext cx="331703" cy="8631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BBA9FEB4-D0F3-ADC2-F17B-0F5AFBAAF722}"/>
              </a:ext>
            </a:extLst>
          </p:cNvPr>
          <p:cNvSpPr/>
          <p:nvPr/>
        </p:nvSpPr>
        <p:spPr>
          <a:xfrm>
            <a:off x="1622355" y="4542182"/>
            <a:ext cx="4898379" cy="88933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5758A11B-7092-F470-2F7C-C9E3FD9CC416}"/>
              </a:ext>
            </a:extLst>
          </p:cNvPr>
          <p:cNvSpPr/>
          <p:nvPr/>
        </p:nvSpPr>
        <p:spPr>
          <a:xfrm rot="16200000">
            <a:off x="1499662" y="4336671"/>
            <a:ext cx="331703" cy="7931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Flecha: a la derecha 28">
            <a:extLst>
              <a:ext uri="{FF2B5EF4-FFF2-40B4-BE49-F238E27FC236}">
                <a16:creationId xmlns:a16="http://schemas.microsoft.com/office/drawing/2014/main" id="{AE61C4DF-52AA-E8A5-47E9-68481631D0CB}"/>
              </a:ext>
            </a:extLst>
          </p:cNvPr>
          <p:cNvSpPr/>
          <p:nvPr/>
        </p:nvSpPr>
        <p:spPr>
          <a:xfrm rot="5400000">
            <a:off x="3892305" y="4720178"/>
            <a:ext cx="362561" cy="231077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Marcador de texto 1">
            <a:extLst>
              <a:ext uri="{FF2B5EF4-FFF2-40B4-BE49-F238E27FC236}">
                <a16:creationId xmlns:a16="http://schemas.microsoft.com/office/drawing/2014/main" id="{07507243-D436-C2C0-FC36-3D79B9B4A4A4}"/>
              </a:ext>
            </a:extLst>
          </p:cNvPr>
          <p:cNvSpPr txBox="1">
            <a:spLocks/>
          </p:cNvSpPr>
          <p:nvPr/>
        </p:nvSpPr>
        <p:spPr>
          <a:xfrm>
            <a:off x="455850" y="187943"/>
            <a:ext cx="10974151" cy="896579"/>
          </a:xfrm>
          <a:prstGeom prst="rect">
            <a:avLst/>
          </a:prstGeom>
        </p:spPr>
        <p:txBody>
          <a:bodyPr anchor="ctr"/>
          <a:lstStyle>
            <a:lvl1pPr marL="0" marR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kern="1200">
                <a:solidFill>
                  <a:srgbClr val="E63D42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2400" b="1" i="0" u="none" strike="noStrike" kern="1200" cap="none" spc="0" normalizeH="0" baseline="0" noProof="0">
                <a:ln>
                  <a:noFill/>
                </a:ln>
                <a:solidFill>
                  <a:srgbClr val="E63D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evo mecanismo de acción en Queratosis Actínica</a:t>
            </a:r>
            <a:endParaRPr kumimoji="0" lang="es-ES" sz="2400" b="1" i="0" u="none" strike="noStrike" kern="1200" cap="none" spc="0" normalizeH="0" baseline="0" noProof="0">
              <a:ln>
                <a:noFill/>
              </a:ln>
              <a:solidFill>
                <a:srgbClr val="E63D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Marcador de texto 12">
            <a:extLst>
              <a:ext uri="{FF2B5EF4-FFF2-40B4-BE49-F238E27FC236}">
                <a16:creationId xmlns:a16="http://schemas.microsoft.com/office/drawing/2014/main" id="{1AD4A4C4-EDD6-B9AB-6284-56FC5AA89E2F}"/>
              </a:ext>
            </a:extLst>
          </p:cNvPr>
          <p:cNvSpPr txBox="1">
            <a:spLocks/>
          </p:cNvSpPr>
          <p:nvPr/>
        </p:nvSpPr>
        <p:spPr>
          <a:xfrm>
            <a:off x="1864728" y="6144519"/>
            <a:ext cx="8543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A, queratosis actínica; MoA, mecanismo de acció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ilaberte Y, Fernández-Figueras MT. Tirbanibulin: review of its novel mechanism of action and how it fits into the treatment of actinic keratosis. Actas Dermosifiliogr. 2022 Jan;113(1):58-66.</a:t>
            </a:r>
            <a:endParaRPr kumimoji="0" lang="es-ES" sz="800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924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cto de flecha 46">
            <a:extLst>
              <a:ext uri="{FF2B5EF4-FFF2-40B4-BE49-F238E27FC236}">
                <a16:creationId xmlns:a16="http://schemas.microsoft.com/office/drawing/2014/main" id="{C3987CB2-D5DA-973B-3DED-41349A61B211}"/>
              </a:ext>
            </a:extLst>
          </p:cNvPr>
          <p:cNvCxnSpPr>
            <a:cxnSpLocks/>
            <a:stCxn id="9" idx="0"/>
          </p:cNvCxnSpPr>
          <p:nvPr/>
        </p:nvCxnSpPr>
        <p:spPr>
          <a:xfrm flipH="1" flipV="1">
            <a:off x="7951773" y="4121544"/>
            <a:ext cx="2207292" cy="1125411"/>
          </a:xfrm>
          <a:prstGeom prst="straightConnector1">
            <a:avLst/>
          </a:prstGeom>
          <a:ln w="57150">
            <a:solidFill>
              <a:srgbClr val="E843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cto de flecha 46">
            <a:extLst>
              <a:ext uri="{FF2B5EF4-FFF2-40B4-BE49-F238E27FC236}">
                <a16:creationId xmlns:a16="http://schemas.microsoft.com/office/drawing/2014/main" id="{98253823-FACD-4B8E-242C-63D57906C8B3}"/>
              </a:ext>
            </a:extLst>
          </p:cNvPr>
          <p:cNvCxnSpPr>
            <a:cxnSpLocks/>
            <a:stCxn id="9" idx="0"/>
          </p:cNvCxnSpPr>
          <p:nvPr/>
        </p:nvCxnSpPr>
        <p:spPr>
          <a:xfrm flipH="1" flipV="1">
            <a:off x="7077832" y="3226026"/>
            <a:ext cx="3081232" cy="2020929"/>
          </a:xfrm>
          <a:prstGeom prst="straightConnector1">
            <a:avLst/>
          </a:prstGeom>
          <a:ln w="57150">
            <a:solidFill>
              <a:srgbClr val="E843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arcador de texto 12">
            <a:extLst>
              <a:ext uri="{FF2B5EF4-FFF2-40B4-BE49-F238E27FC236}">
                <a16:creationId xmlns:a16="http://schemas.microsoft.com/office/drawing/2014/main" id="{BBB12B8E-E968-4BB1-1E4A-2BE75C9E40CD}"/>
              </a:ext>
            </a:extLst>
          </p:cNvPr>
          <p:cNvSpPr txBox="1">
            <a:spLocks/>
          </p:cNvSpPr>
          <p:nvPr/>
        </p:nvSpPr>
        <p:spPr>
          <a:xfrm>
            <a:off x="1907727" y="6142473"/>
            <a:ext cx="83354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V, ultravioleta. 5-FU: 5-fluorouracilo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ilaberte Y, Fernández-Figueras MT. Tirbanibulin: review of its novel mechanism of action and how it fits into the treatment of actinic keratosis. Actas Dermosifiliogr. 2022 Jan;113(1):58-66.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E09A57E-B5F2-FB4E-06AD-880AD4EED7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4384" y="1642254"/>
            <a:ext cx="8492107" cy="3663261"/>
          </a:xfrm>
          <a:prstGeom prst="rect">
            <a:avLst/>
          </a:prstGeom>
        </p:spPr>
      </p:pic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DCBEB83C-EE3B-A494-797E-5239DAC73946}"/>
              </a:ext>
            </a:extLst>
          </p:cNvPr>
          <p:cNvSpPr/>
          <p:nvPr/>
        </p:nvSpPr>
        <p:spPr>
          <a:xfrm>
            <a:off x="1186179" y="1374429"/>
            <a:ext cx="8880312" cy="4130743"/>
          </a:xfrm>
          <a:prstGeom prst="roundRect">
            <a:avLst/>
          </a:prstGeom>
          <a:noFill/>
          <a:ln w="28575">
            <a:solidFill>
              <a:srgbClr val="376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ángulo 22">
            <a:extLst>
              <a:ext uri="{FF2B5EF4-FFF2-40B4-BE49-F238E27FC236}">
                <a16:creationId xmlns:a16="http://schemas.microsoft.com/office/drawing/2014/main" id="{A81975D6-71FC-A6B8-92F0-A3811580434B}"/>
              </a:ext>
            </a:extLst>
          </p:cNvPr>
          <p:cNvSpPr/>
          <p:nvPr/>
        </p:nvSpPr>
        <p:spPr>
          <a:xfrm>
            <a:off x="8837365" y="5246956"/>
            <a:ext cx="2643399" cy="652769"/>
          </a:xfrm>
          <a:prstGeom prst="roundRect">
            <a:avLst/>
          </a:prstGeom>
          <a:solidFill>
            <a:srgbClr val="E8434A"/>
          </a:solidFill>
          <a:ln>
            <a:solidFill>
              <a:schemeClr val="accent1"/>
            </a:solidFill>
          </a:ln>
        </p:spPr>
        <p:txBody>
          <a:bodyPr wrap="square" anchor="ctr"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855">
                  <a:lumMod val="90000"/>
                  <a:lumOff val="10000"/>
                </a:srgbClr>
              </a:buClr>
              <a:buSzTx/>
              <a:buFontTx/>
              <a:buNone/>
              <a:tabLst/>
              <a:defRPr/>
            </a:pPr>
            <a:r>
              <a:rPr kumimoji="0" lang="en-US" sz="21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RBANIBULINA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0F685DB5-88E1-D780-1398-2AD69705A274}"/>
              </a:ext>
            </a:extLst>
          </p:cNvPr>
          <p:cNvSpPr txBox="1"/>
          <p:nvPr/>
        </p:nvSpPr>
        <p:spPr>
          <a:xfrm>
            <a:off x="535338" y="398574"/>
            <a:ext cx="8131557" cy="677108"/>
          </a:xfrm>
          <a:prstGeom prst="rect">
            <a:avLst/>
          </a:prstGeom>
        </p:spPr>
        <p:txBody>
          <a:bodyPr anchor="ctr"/>
          <a:lstStyle>
            <a:defPPr>
              <a:defRPr lang="es-ES"/>
            </a:defPPr>
            <a:lvl1pPr marR="0" lvl="0" indent="0" defTabSz="914377" fontAlgn="auto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E63D42"/>
                </a:solidFill>
                <a:effectLst/>
                <a:uLnTx/>
                <a:uFillTx/>
                <a:latin typeface="Arial"/>
              </a:defRPr>
            </a:lvl1pPr>
            <a:lvl2pPr marL="457189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>
                <a:solidFill>
                  <a:srgbClr val="002855"/>
                </a:solidFill>
              </a:defRPr>
            </a:lvl2pPr>
            <a:lvl3pPr marL="914377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>
                <a:solidFill>
                  <a:srgbClr val="002855"/>
                </a:solidFill>
              </a:defRPr>
            </a:lvl3pPr>
            <a:lvl4pPr marL="1371566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>
                <a:solidFill>
                  <a:srgbClr val="002855"/>
                </a:solidFill>
              </a:defRPr>
            </a:lvl4pPr>
            <a:lvl5pPr marL="1828754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>
                <a:solidFill>
                  <a:srgbClr val="002855"/>
                </a:solidFill>
              </a:defRPr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/>
              <a:t>Moléculas en el tratamiento de la Queratosis Actínica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27767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050A499-BE4D-D092-3E2D-3BB5574EC1CE}"/>
              </a:ext>
            </a:extLst>
          </p:cNvPr>
          <p:cNvSpPr txBox="1">
            <a:spLocks/>
          </p:cNvSpPr>
          <p:nvPr/>
        </p:nvSpPr>
        <p:spPr>
          <a:xfrm>
            <a:off x="391783" y="327104"/>
            <a:ext cx="6476378" cy="573024"/>
          </a:xfrm>
        </p:spPr>
        <p:txBody>
          <a:bodyPr anchor="ctr"/>
          <a:lstStyle>
            <a:defPPr>
              <a:defRPr lang="es-ES"/>
            </a:defPPr>
            <a:lvl1pPr marR="0" lvl="0" indent="0" defTabSz="914377" fontAlgn="auto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E63D42"/>
                </a:solidFill>
                <a:effectLst/>
                <a:uLnTx/>
                <a:uFillTx/>
                <a:latin typeface="Arial"/>
              </a:defRPr>
            </a:lvl1pPr>
            <a:lvl2pPr marL="457189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>
                <a:solidFill>
                  <a:srgbClr val="002855"/>
                </a:solidFill>
              </a:defRPr>
            </a:lvl2pPr>
            <a:lvl3pPr marL="914377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>
                <a:solidFill>
                  <a:srgbClr val="002855"/>
                </a:solidFill>
              </a:defRPr>
            </a:lvl3pPr>
            <a:lvl4pPr marL="1371566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>
                <a:solidFill>
                  <a:srgbClr val="002855"/>
                </a:solidFill>
              </a:defRPr>
            </a:lvl4pPr>
            <a:lvl5pPr marL="1828754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>
                <a:solidFill>
                  <a:srgbClr val="002855"/>
                </a:solidFill>
              </a:defRPr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err="1"/>
              <a:t>Régimen</a:t>
            </a:r>
            <a:r>
              <a:rPr lang="en-US"/>
              <a:t> de </a:t>
            </a:r>
            <a:r>
              <a:rPr lang="en-US" err="1"/>
              <a:t>los</a:t>
            </a:r>
            <a:r>
              <a:rPr lang="en-US"/>
              <a:t> </a:t>
            </a:r>
            <a:r>
              <a:rPr lang="en-US" err="1"/>
              <a:t>distintos</a:t>
            </a:r>
            <a:r>
              <a:rPr lang="en-US"/>
              <a:t> </a:t>
            </a:r>
            <a:r>
              <a:rPr lang="en-US" err="1"/>
              <a:t>tratamientos</a:t>
            </a:r>
            <a:endParaRPr lang="en-US"/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C3069B64-2F58-41BD-1513-CBE8E9257196}"/>
              </a:ext>
            </a:extLst>
          </p:cNvPr>
          <p:cNvGrpSpPr/>
          <p:nvPr/>
        </p:nvGrpSpPr>
        <p:grpSpPr>
          <a:xfrm>
            <a:off x="550319" y="5658429"/>
            <a:ext cx="2933547" cy="334851"/>
            <a:chOff x="431800" y="5679233"/>
            <a:chExt cx="2933547" cy="334851"/>
          </a:xfrm>
        </p:grpSpPr>
        <p:sp>
          <p:nvSpPr>
            <p:cNvPr id="6" name="Rectangle: Rounded Corners 2">
              <a:extLst>
                <a:ext uri="{FF2B5EF4-FFF2-40B4-BE49-F238E27FC236}">
                  <a16:creationId xmlns:a16="http://schemas.microsoft.com/office/drawing/2014/main" id="{83635036-1268-F61A-7532-A945EA548A03}"/>
                </a:ext>
              </a:extLst>
            </p:cNvPr>
            <p:cNvSpPr/>
            <p:nvPr/>
          </p:nvSpPr>
          <p:spPr>
            <a:xfrm>
              <a:off x="431800" y="5679233"/>
              <a:ext cx="2933547" cy="334851"/>
            </a:xfrm>
            <a:prstGeom prst="roundRect">
              <a:avLst>
                <a:gd name="adj" fmla="val 50000"/>
              </a:avLst>
            </a:prstGeom>
            <a:gradFill>
              <a:gsLst>
                <a:gs pos="57000">
                  <a:srgbClr val="FFC000"/>
                </a:gs>
                <a:gs pos="42000">
                  <a:srgbClr val="FFE000"/>
                </a:gs>
                <a:gs pos="21000">
                  <a:srgbClr val="C9D828"/>
                </a:gs>
                <a:gs pos="0">
                  <a:srgbClr val="00B050"/>
                </a:gs>
                <a:gs pos="80000">
                  <a:srgbClr val="FF8000"/>
                </a:gs>
                <a:gs pos="100000">
                  <a:srgbClr val="FF0000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" name="Straight Arrow Connector 3">
              <a:extLst>
                <a:ext uri="{FF2B5EF4-FFF2-40B4-BE49-F238E27FC236}">
                  <a16:creationId xmlns:a16="http://schemas.microsoft.com/office/drawing/2014/main" id="{E8F6B288-7C96-0229-9E52-1A913736A886}"/>
                </a:ext>
              </a:extLst>
            </p:cNvPr>
            <p:cNvCxnSpPr>
              <a:cxnSpLocks/>
            </p:cNvCxnSpPr>
            <p:nvPr/>
          </p:nvCxnSpPr>
          <p:spPr>
            <a:xfrm>
              <a:off x="679373" y="5846659"/>
              <a:ext cx="2438400" cy="0"/>
            </a:xfrm>
            <a:prstGeom prst="straightConnector1">
              <a:avLst/>
            </a:prstGeom>
            <a:ln w="12700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Oval 13">
              <a:extLst>
                <a:ext uri="{FF2B5EF4-FFF2-40B4-BE49-F238E27FC236}">
                  <a16:creationId xmlns:a16="http://schemas.microsoft.com/office/drawing/2014/main" id="{155D9BD6-F9E3-0B27-6469-D0E556870C10}"/>
                </a:ext>
              </a:extLst>
            </p:cNvPr>
            <p:cNvSpPr/>
            <p:nvPr/>
          </p:nvSpPr>
          <p:spPr>
            <a:xfrm>
              <a:off x="1807133" y="5755219"/>
              <a:ext cx="182880" cy="182880"/>
            </a:xfrm>
            <a:prstGeom prst="ellipse">
              <a:avLst/>
            </a:prstGeom>
            <a:ln>
              <a:solidFill>
                <a:schemeClr val="bg1"/>
              </a:solidFill>
            </a:ln>
            <a:effectLst>
              <a:outerShdw blurRad="50800" algn="ctr" rotWithShape="0">
                <a:schemeClr val="tx1">
                  <a:lumMod val="50000"/>
                  <a:alpha val="2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" name="Group 49">
            <a:extLst>
              <a:ext uri="{FF2B5EF4-FFF2-40B4-BE49-F238E27FC236}">
                <a16:creationId xmlns:a16="http://schemas.microsoft.com/office/drawing/2014/main" id="{9F957FBD-2A01-A445-0AD3-D341A90B3895}"/>
              </a:ext>
            </a:extLst>
          </p:cNvPr>
          <p:cNvGrpSpPr/>
          <p:nvPr/>
        </p:nvGrpSpPr>
        <p:grpSpPr>
          <a:xfrm>
            <a:off x="2428459" y="1447467"/>
            <a:ext cx="1855251" cy="3805036"/>
            <a:chOff x="2240730" y="2858913"/>
            <a:chExt cx="5507006" cy="2853777"/>
          </a:xfrm>
        </p:grpSpPr>
        <p:sp>
          <p:nvSpPr>
            <p:cNvPr id="10" name="Rectángulo 10">
              <a:extLst>
                <a:ext uri="{FF2B5EF4-FFF2-40B4-BE49-F238E27FC236}">
                  <a16:creationId xmlns:a16="http://schemas.microsoft.com/office/drawing/2014/main" id="{7302DF4E-ADCE-65B2-2033-5E834B3EDB3E}"/>
                </a:ext>
              </a:extLst>
            </p:cNvPr>
            <p:cNvSpPr/>
            <p:nvPr/>
          </p:nvSpPr>
          <p:spPr>
            <a:xfrm>
              <a:off x="2240730" y="3063749"/>
              <a:ext cx="5507006" cy="2648941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26720" r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Rectángulo 11">
              <a:extLst>
                <a:ext uri="{FF2B5EF4-FFF2-40B4-BE49-F238E27FC236}">
                  <a16:creationId xmlns:a16="http://schemas.microsoft.com/office/drawing/2014/main" id="{9973E07A-033B-4FA8-C9A2-8421320BC71C}"/>
                </a:ext>
              </a:extLst>
            </p:cNvPr>
            <p:cNvSpPr/>
            <p:nvPr/>
          </p:nvSpPr>
          <p:spPr>
            <a:xfrm>
              <a:off x="2240730" y="2858913"/>
              <a:ext cx="5507006" cy="457200"/>
            </a:xfrm>
            <a:prstGeom prst="round2SameRect">
              <a:avLst/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26720" rIns="60960"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33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(Body)"/>
                  <a:ea typeface="+mn-ea"/>
                  <a:cs typeface="+mn-cs"/>
                </a:rPr>
                <a:t>Régimen</a:t>
              </a:r>
              <a:endParaRPr kumimoji="0" lang="en-GB" sz="13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(Body)"/>
                <a:ea typeface="+mn-ea"/>
                <a:cs typeface="+mn-cs"/>
              </a:endParaRPr>
            </a:p>
          </p:txBody>
        </p:sp>
      </p:grpSp>
      <p:pic>
        <p:nvPicPr>
          <p:cNvPr id="12" name="Graphic 50" descr="Clock with solid fill">
            <a:extLst>
              <a:ext uri="{FF2B5EF4-FFF2-40B4-BE49-F238E27FC236}">
                <a16:creationId xmlns:a16="http://schemas.microsoft.com/office/drawing/2014/main" id="{AD8A7644-C8B7-0418-C257-239E62B7E8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79681" y="1569387"/>
            <a:ext cx="365760" cy="365760"/>
          </a:xfrm>
          <a:prstGeom prst="rect">
            <a:avLst/>
          </a:prstGeom>
        </p:spPr>
      </p:pic>
      <p:grpSp>
        <p:nvGrpSpPr>
          <p:cNvPr id="13" name="Group 54">
            <a:extLst>
              <a:ext uri="{FF2B5EF4-FFF2-40B4-BE49-F238E27FC236}">
                <a16:creationId xmlns:a16="http://schemas.microsoft.com/office/drawing/2014/main" id="{5FAACFBB-4456-F0EE-A812-5A20AF411135}"/>
              </a:ext>
            </a:extLst>
          </p:cNvPr>
          <p:cNvGrpSpPr/>
          <p:nvPr/>
        </p:nvGrpSpPr>
        <p:grpSpPr>
          <a:xfrm>
            <a:off x="281899" y="2710484"/>
            <a:ext cx="2236655" cy="573024"/>
            <a:chOff x="314327" y="1389556"/>
            <a:chExt cx="1677491" cy="365761"/>
          </a:xfrm>
        </p:grpSpPr>
        <p:sp>
          <p:nvSpPr>
            <p:cNvPr id="14" name="TextBox 212">
              <a:extLst>
                <a:ext uri="{FF2B5EF4-FFF2-40B4-BE49-F238E27FC236}">
                  <a16:creationId xmlns:a16="http://schemas.microsoft.com/office/drawing/2014/main" id="{F8D238DD-D656-608F-8D72-9F14C84CFE30}"/>
                </a:ext>
              </a:extLst>
            </p:cNvPr>
            <p:cNvSpPr txBox="1"/>
            <p:nvPr/>
          </p:nvSpPr>
          <p:spPr>
            <a:xfrm>
              <a:off x="347869" y="1389556"/>
              <a:ext cx="1643949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5-FU 5%</a:t>
              </a:r>
              <a:r>
                <a:rPr kumimoji="0" lang="es-ES" sz="1400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5" name="Rectangle: Top Corners Rounded 233">
              <a:extLst>
                <a:ext uri="{FF2B5EF4-FFF2-40B4-BE49-F238E27FC236}">
                  <a16:creationId xmlns:a16="http://schemas.microsoft.com/office/drawing/2014/main" id="{7931E66F-152A-5C88-B899-7B50E78C9017}"/>
                </a:ext>
              </a:extLst>
            </p:cNvPr>
            <p:cNvSpPr/>
            <p:nvPr/>
          </p:nvSpPr>
          <p:spPr>
            <a:xfrm rot="16200000">
              <a:off x="163451" y="1540433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" name="Group 55">
            <a:extLst>
              <a:ext uri="{FF2B5EF4-FFF2-40B4-BE49-F238E27FC236}">
                <a16:creationId xmlns:a16="http://schemas.microsoft.com/office/drawing/2014/main" id="{FBD33123-73BB-3AFD-2CD5-1C266097D370}"/>
              </a:ext>
            </a:extLst>
          </p:cNvPr>
          <p:cNvGrpSpPr/>
          <p:nvPr/>
        </p:nvGrpSpPr>
        <p:grpSpPr>
          <a:xfrm>
            <a:off x="281897" y="3334253"/>
            <a:ext cx="2236656" cy="573024"/>
            <a:chOff x="314326" y="1792193"/>
            <a:chExt cx="1677492" cy="365761"/>
          </a:xfrm>
        </p:grpSpPr>
        <p:sp>
          <p:nvSpPr>
            <p:cNvPr id="17" name="TextBox 210">
              <a:extLst>
                <a:ext uri="{FF2B5EF4-FFF2-40B4-BE49-F238E27FC236}">
                  <a16:creationId xmlns:a16="http://schemas.microsoft.com/office/drawing/2014/main" id="{58ACDA46-D7F0-294F-C6A5-A4CA17BB1FBA}"/>
                </a:ext>
              </a:extLst>
            </p:cNvPr>
            <p:cNvSpPr txBox="1"/>
            <p:nvPr/>
          </p:nvSpPr>
          <p:spPr>
            <a:xfrm>
              <a:off x="347869" y="1792194"/>
              <a:ext cx="1643949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Diclofenaco</a:t>
              </a:r>
              <a:r>
                <a:rPr kumimoji="0" lang="en-GB" sz="1400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8" name="Rectangle: Top Corners Rounded 211">
              <a:extLst>
                <a:ext uri="{FF2B5EF4-FFF2-40B4-BE49-F238E27FC236}">
                  <a16:creationId xmlns:a16="http://schemas.microsoft.com/office/drawing/2014/main" id="{9C12DAD0-E1C6-56E0-0E5F-745CC16D41D5}"/>
                </a:ext>
              </a:extLst>
            </p:cNvPr>
            <p:cNvSpPr/>
            <p:nvPr/>
          </p:nvSpPr>
          <p:spPr>
            <a:xfrm rot="16200000">
              <a:off x="163450" y="1943069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9" name="Group 56">
            <a:extLst>
              <a:ext uri="{FF2B5EF4-FFF2-40B4-BE49-F238E27FC236}">
                <a16:creationId xmlns:a16="http://schemas.microsoft.com/office/drawing/2014/main" id="{C7B71D41-82FD-1E60-356A-88B22EA4F5E2}"/>
              </a:ext>
            </a:extLst>
          </p:cNvPr>
          <p:cNvGrpSpPr/>
          <p:nvPr/>
        </p:nvGrpSpPr>
        <p:grpSpPr>
          <a:xfrm>
            <a:off x="281896" y="3958023"/>
            <a:ext cx="2236659" cy="573024"/>
            <a:chOff x="314325" y="2194832"/>
            <a:chExt cx="1677494" cy="365760"/>
          </a:xfrm>
        </p:grpSpPr>
        <p:sp>
          <p:nvSpPr>
            <p:cNvPr id="20" name="TextBox 205">
              <a:extLst>
                <a:ext uri="{FF2B5EF4-FFF2-40B4-BE49-F238E27FC236}">
                  <a16:creationId xmlns:a16="http://schemas.microsoft.com/office/drawing/2014/main" id="{594B2B49-6CCC-32D9-74FA-004EE8071187}"/>
                </a:ext>
              </a:extLst>
            </p:cNvPr>
            <p:cNvSpPr txBox="1"/>
            <p:nvPr/>
          </p:nvSpPr>
          <p:spPr>
            <a:xfrm>
              <a:off x="347869" y="2194832"/>
              <a:ext cx="1643950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Imiquimod</a:t>
              </a:r>
              <a:r>
                <a:rPr kumimoji="0" lang="en-GB" sz="1400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21" name="Rectangle: Top Corners Rounded 209">
              <a:extLst>
                <a:ext uri="{FF2B5EF4-FFF2-40B4-BE49-F238E27FC236}">
                  <a16:creationId xmlns:a16="http://schemas.microsoft.com/office/drawing/2014/main" id="{FF89D512-4EAE-84CE-F21E-4B44A0389402}"/>
                </a:ext>
              </a:extLst>
            </p:cNvPr>
            <p:cNvSpPr/>
            <p:nvPr/>
          </p:nvSpPr>
          <p:spPr>
            <a:xfrm rot="16200000">
              <a:off x="163449" y="2345708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oup 57">
            <a:extLst>
              <a:ext uri="{FF2B5EF4-FFF2-40B4-BE49-F238E27FC236}">
                <a16:creationId xmlns:a16="http://schemas.microsoft.com/office/drawing/2014/main" id="{0B2363F8-E733-5AF8-EFA6-B5EA4D53EAFA}"/>
              </a:ext>
            </a:extLst>
          </p:cNvPr>
          <p:cNvGrpSpPr/>
          <p:nvPr/>
        </p:nvGrpSpPr>
        <p:grpSpPr>
          <a:xfrm>
            <a:off x="281897" y="4581792"/>
            <a:ext cx="2236657" cy="573024"/>
            <a:chOff x="314325" y="2597470"/>
            <a:chExt cx="1677493" cy="365760"/>
          </a:xfrm>
        </p:grpSpPr>
        <p:sp>
          <p:nvSpPr>
            <p:cNvPr id="23" name="TextBox 203">
              <a:extLst>
                <a:ext uri="{FF2B5EF4-FFF2-40B4-BE49-F238E27FC236}">
                  <a16:creationId xmlns:a16="http://schemas.microsoft.com/office/drawing/2014/main" id="{A205C6F2-28FA-A36C-7221-224A693DA414}"/>
                </a:ext>
              </a:extLst>
            </p:cNvPr>
            <p:cNvSpPr txBox="1"/>
            <p:nvPr/>
          </p:nvSpPr>
          <p:spPr>
            <a:xfrm>
              <a:off x="347869" y="2597470"/>
              <a:ext cx="1643949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Terapia</a:t>
              </a: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 fotodinámica</a:t>
              </a:r>
              <a:r>
                <a:rPr kumimoji="0" lang="en-GB" sz="1400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5</a:t>
              </a:r>
            </a:p>
          </p:txBody>
        </p:sp>
        <p:sp>
          <p:nvSpPr>
            <p:cNvPr id="24" name="Rectangle: Top Corners Rounded 204">
              <a:extLst>
                <a:ext uri="{FF2B5EF4-FFF2-40B4-BE49-F238E27FC236}">
                  <a16:creationId xmlns:a16="http://schemas.microsoft.com/office/drawing/2014/main" id="{40838CCB-6DC4-1356-E427-192428722F70}"/>
                </a:ext>
              </a:extLst>
            </p:cNvPr>
            <p:cNvSpPr/>
            <p:nvPr/>
          </p:nvSpPr>
          <p:spPr>
            <a:xfrm rot="16200000">
              <a:off x="163449" y="2748346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" name="Group 58">
            <a:extLst>
              <a:ext uri="{FF2B5EF4-FFF2-40B4-BE49-F238E27FC236}">
                <a16:creationId xmlns:a16="http://schemas.microsoft.com/office/drawing/2014/main" id="{D5898D61-E849-B7F5-5A81-DC9A9E5F8447}"/>
              </a:ext>
            </a:extLst>
          </p:cNvPr>
          <p:cNvGrpSpPr/>
          <p:nvPr/>
        </p:nvGrpSpPr>
        <p:grpSpPr>
          <a:xfrm>
            <a:off x="2428462" y="2712603"/>
            <a:ext cx="1767837" cy="568788"/>
            <a:chOff x="1924249" y="1389555"/>
            <a:chExt cx="1325878" cy="426591"/>
          </a:xfrm>
        </p:grpSpPr>
        <p:sp>
          <p:nvSpPr>
            <p:cNvPr id="26" name="TextBox 187">
              <a:extLst>
                <a:ext uri="{FF2B5EF4-FFF2-40B4-BE49-F238E27FC236}">
                  <a16:creationId xmlns:a16="http://schemas.microsoft.com/office/drawing/2014/main" id="{048DB311-C48A-1895-636C-767CD78E45D9}"/>
                </a:ext>
              </a:extLst>
            </p:cNvPr>
            <p:cNvSpPr txBox="1"/>
            <p:nvPr/>
          </p:nvSpPr>
          <p:spPr>
            <a:xfrm>
              <a:off x="1924249" y="1389555"/>
              <a:ext cx="1325878" cy="426591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square" lIns="426720" rIns="6096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333" b="1" i="0" u="none" strike="noStrike" kern="0" cap="none" spc="0" normalizeH="0" baseline="3000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7" name="Group 188">
              <a:extLst>
                <a:ext uri="{FF2B5EF4-FFF2-40B4-BE49-F238E27FC236}">
                  <a16:creationId xmlns:a16="http://schemas.microsoft.com/office/drawing/2014/main" id="{7F39C4DC-2853-D4DA-4F34-F465332C9EF5}"/>
                </a:ext>
              </a:extLst>
            </p:cNvPr>
            <p:cNvGrpSpPr/>
            <p:nvPr/>
          </p:nvGrpSpPr>
          <p:grpSpPr>
            <a:xfrm>
              <a:off x="2019170" y="1511410"/>
              <a:ext cx="1009679" cy="182880"/>
              <a:chOff x="-2439824" y="3298619"/>
              <a:chExt cx="1009679" cy="182880"/>
            </a:xfrm>
          </p:grpSpPr>
          <p:sp>
            <p:nvSpPr>
              <p:cNvPr id="28" name="Oval 189">
                <a:extLst>
                  <a:ext uri="{FF2B5EF4-FFF2-40B4-BE49-F238E27FC236}">
                    <a16:creationId xmlns:a16="http://schemas.microsoft.com/office/drawing/2014/main" id="{800B752C-6175-4C79-8624-A7F3FCF4DC1E}"/>
                  </a:ext>
                </a:extLst>
              </p:cNvPr>
              <p:cNvSpPr/>
              <p:nvPr/>
            </p:nvSpPr>
            <p:spPr>
              <a:xfrm>
                <a:off x="-2439824" y="3321479"/>
                <a:ext cx="137160" cy="137160"/>
              </a:xfrm>
              <a:prstGeom prst="ellipse">
                <a:avLst/>
              </a:prstGeom>
              <a:solidFill>
                <a:srgbClr val="FFC000"/>
              </a:solidFill>
              <a:ln>
                <a:solidFill>
                  <a:schemeClr val="bg1"/>
                </a:solidFill>
              </a:ln>
              <a:effectLst>
                <a:outerShdw blurRad="50800" algn="ctr" rotWithShape="0">
                  <a:schemeClr val="tx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TextBox 190">
                <a:extLst>
                  <a:ext uri="{FF2B5EF4-FFF2-40B4-BE49-F238E27FC236}">
                    <a16:creationId xmlns:a16="http://schemas.microsoft.com/office/drawing/2014/main" id="{78103F5E-401F-AB14-ED2B-E39536EAE096}"/>
                  </a:ext>
                </a:extLst>
              </p:cNvPr>
              <p:cNvSpPr txBox="1"/>
              <p:nvPr/>
            </p:nvSpPr>
            <p:spPr>
              <a:xfrm>
                <a:off x="-2247998" y="3298619"/>
                <a:ext cx="817853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-2 </a:t>
                </a:r>
                <a:r>
                  <a:rPr kumimoji="0" lang="en-US" sz="133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eces</a:t>
                </a: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a día</a:t>
                </a:r>
              </a:p>
            </p:txBody>
          </p:sp>
        </p:grpSp>
      </p:grpSp>
      <p:grpSp>
        <p:nvGrpSpPr>
          <p:cNvPr id="30" name="Group 63">
            <a:extLst>
              <a:ext uri="{FF2B5EF4-FFF2-40B4-BE49-F238E27FC236}">
                <a16:creationId xmlns:a16="http://schemas.microsoft.com/office/drawing/2014/main" id="{866D0D85-C801-4D0B-2955-229CAB8E8017}"/>
              </a:ext>
            </a:extLst>
          </p:cNvPr>
          <p:cNvGrpSpPr/>
          <p:nvPr/>
        </p:nvGrpSpPr>
        <p:grpSpPr>
          <a:xfrm>
            <a:off x="2428462" y="3334252"/>
            <a:ext cx="1767837" cy="573027"/>
            <a:chOff x="1924249" y="1357551"/>
            <a:chExt cx="1325878" cy="429770"/>
          </a:xfrm>
        </p:grpSpPr>
        <p:sp>
          <p:nvSpPr>
            <p:cNvPr id="31" name="TextBox 131">
              <a:extLst>
                <a:ext uri="{FF2B5EF4-FFF2-40B4-BE49-F238E27FC236}">
                  <a16:creationId xmlns:a16="http://schemas.microsoft.com/office/drawing/2014/main" id="{067B1F42-60A3-741A-D8EF-769EC6273570}"/>
                </a:ext>
              </a:extLst>
            </p:cNvPr>
            <p:cNvSpPr txBox="1"/>
            <p:nvPr/>
          </p:nvSpPr>
          <p:spPr>
            <a:xfrm>
              <a:off x="1924249" y="1357551"/>
              <a:ext cx="1325878" cy="429770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square" lIns="426720" rIns="6096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333" b="1" i="0" u="none" strike="noStrike" kern="0" cap="none" spc="0" normalizeH="0" baseline="3000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2" name="Group 132">
              <a:extLst>
                <a:ext uri="{FF2B5EF4-FFF2-40B4-BE49-F238E27FC236}">
                  <a16:creationId xmlns:a16="http://schemas.microsoft.com/office/drawing/2014/main" id="{3571EC53-AFBC-E8C1-F471-337DE2875EBC}"/>
                </a:ext>
              </a:extLst>
            </p:cNvPr>
            <p:cNvGrpSpPr/>
            <p:nvPr/>
          </p:nvGrpSpPr>
          <p:grpSpPr>
            <a:xfrm>
              <a:off x="2019170" y="1480996"/>
              <a:ext cx="1009679" cy="182880"/>
              <a:chOff x="-2439824" y="3268205"/>
              <a:chExt cx="1009679" cy="182880"/>
            </a:xfrm>
          </p:grpSpPr>
          <p:sp>
            <p:nvSpPr>
              <p:cNvPr id="33" name="Oval 133">
                <a:extLst>
                  <a:ext uri="{FF2B5EF4-FFF2-40B4-BE49-F238E27FC236}">
                    <a16:creationId xmlns:a16="http://schemas.microsoft.com/office/drawing/2014/main" id="{D7BD8232-A9E4-9C17-BDD5-218D9B4DD3BA}"/>
                  </a:ext>
                </a:extLst>
              </p:cNvPr>
              <p:cNvSpPr/>
              <p:nvPr/>
            </p:nvSpPr>
            <p:spPr>
              <a:xfrm>
                <a:off x="-2439824" y="3291065"/>
                <a:ext cx="137160" cy="137160"/>
              </a:xfrm>
              <a:prstGeom prst="ellipse">
                <a:avLst/>
              </a:prstGeom>
              <a:solidFill>
                <a:srgbClr val="FFC000"/>
              </a:solidFill>
              <a:ln>
                <a:solidFill>
                  <a:schemeClr val="bg1"/>
                </a:solidFill>
              </a:ln>
              <a:effectLst>
                <a:outerShdw blurRad="50800" algn="ctr" rotWithShape="0">
                  <a:schemeClr val="tx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TextBox 134">
                <a:extLst>
                  <a:ext uri="{FF2B5EF4-FFF2-40B4-BE49-F238E27FC236}">
                    <a16:creationId xmlns:a16="http://schemas.microsoft.com/office/drawing/2014/main" id="{8A436C93-7993-70D6-8E73-61441A431409}"/>
                  </a:ext>
                </a:extLst>
              </p:cNvPr>
              <p:cNvSpPr txBox="1"/>
              <p:nvPr/>
            </p:nvSpPr>
            <p:spPr>
              <a:xfrm>
                <a:off x="-2247998" y="3268205"/>
                <a:ext cx="817853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 </a:t>
                </a:r>
                <a:r>
                  <a:rPr kumimoji="0" lang="en-US" sz="133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eces</a:t>
                </a: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al día</a:t>
                </a:r>
              </a:p>
            </p:txBody>
          </p:sp>
        </p:grpSp>
      </p:grpSp>
      <p:grpSp>
        <p:nvGrpSpPr>
          <p:cNvPr id="35" name="Group 68">
            <a:extLst>
              <a:ext uri="{FF2B5EF4-FFF2-40B4-BE49-F238E27FC236}">
                <a16:creationId xmlns:a16="http://schemas.microsoft.com/office/drawing/2014/main" id="{9AEBB651-C948-626F-4107-615636B3E13E}"/>
              </a:ext>
            </a:extLst>
          </p:cNvPr>
          <p:cNvGrpSpPr/>
          <p:nvPr/>
        </p:nvGrpSpPr>
        <p:grpSpPr>
          <a:xfrm>
            <a:off x="2428460" y="3958023"/>
            <a:ext cx="1981812" cy="573024"/>
            <a:chOff x="1924249" y="1357552"/>
            <a:chExt cx="1610521" cy="429768"/>
          </a:xfrm>
        </p:grpSpPr>
        <p:sp>
          <p:nvSpPr>
            <p:cNvPr id="36" name="TextBox 110">
              <a:extLst>
                <a:ext uri="{FF2B5EF4-FFF2-40B4-BE49-F238E27FC236}">
                  <a16:creationId xmlns:a16="http://schemas.microsoft.com/office/drawing/2014/main" id="{24FBDC6A-AF1A-1825-3685-FEA1B1D6B373}"/>
                </a:ext>
              </a:extLst>
            </p:cNvPr>
            <p:cNvSpPr txBox="1"/>
            <p:nvPr/>
          </p:nvSpPr>
          <p:spPr>
            <a:xfrm>
              <a:off x="1924249" y="1357552"/>
              <a:ext cx="1325878" cy="42976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square" lIns="426720" rIns="6096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333" b="1" i="0" u="none" strike="noStrike" kern="0" cap="none" spc="0" normalizeH="0" baseline="3000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7" name="Group 111">
              <a:extLst>
                <a:ext uri="{FF2B5EF4-FFF2-40B4-BE49-F238E27FC236}">
                  <a16:creationId xmlns:a16="http://schemas.microsoft.com/office/drawing/2014/main" id="{7FA886C0-D4D2-B2A6-29D1-C3614FCBBAE4}"/>
                </a:ext>
              </a:extLst>
            </p:cNvPr>
            <p:cNvGrpSpPr/>
            <p:nvPr/>
          </p:nvGrpSpPr>
          <p:grpSpPr>
            <a:xfrm>
              <a:off x="2019170" y="1480996"/>
              <a:ext cx="1515600" cy="306324"/>
              <a:chOff x="-2439824" y="3268205"/>
              <a:chExt cx="1515600" cy="306324"/>
            </a:xfrm>
          </p:grpSpPr>
          <p:sp>
            <p:nvSpPr>
              <p:cNvPr id="38" name="Oval 112">
                <a:extLst>
                  <a:ext uri="{FF2B5EF4-FFF2-40B4-BE49-F238E27FC236}">
                    <a16:creationId xmlns:a16="http://schemas.microsoft.com/office/drawing/2014/main" id="{F4D596FD-9824-FEB8-CCDC-8B321A0051F9}"/>
                  </a:ext>
                </a:extLst>
              </p:cNvPr>
              <p:cNvSpPr/>
              <p:nvPr/>
            </p:nvSpPr>
            <p:spPr>
              <a:xfrm>
                <a:off x="-2439824" y="3291065"/>
                <a:ext cx="137160" cy="137160"/>
              </a:xfrm>
              <a:prstGeom prst="ellipse">
                <a:avLst/>
              </a:prstGeom>
              <a:solidFill>
                <a:srgbClr val="FFFF00"/>
              </a:solidFill>
              <a:ln>
                <a:solidFill>
                  <a:schemeClr val="bg1"/>
                </a:solidFill>
              </a:ln>
              <a:effectLst>
                <a:outerShdw blurRad="50800" algn="ctr" rotWithShape="0">
                  <a:schemeClr val="tx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TextBox 113">
                <a:extLst>
                  <a:ext uri="{FF2B5EF4-FFF2-40B4-BE49-F238E27FC236}">
                    <a16:creationId xmlns:a16="http://schemas.microsoft.com/office/drawing/2014/main" id="{3364A291-1A29-A99C-85BA-1A36AFE2C75D}"/>
                  </a:ext>
                </a:extLst>
              </p:cNvPr>
              <p:cNvSpPr txBox="1"/>
              <p:nvPr/>
            </p:nvSpPr>
            <p:spPr>
              <a:xfrm>
                <a:off x="-2247999" y="3268205"/>
                <a:ext cx="1323775" cy="306324"/>
              </a:xfrm>
              <a:prstGeom prst="rect">
                <a:avLst/>
              </a:prstGeom>
              <a:noFill/>
            </p:spPr>
            <p:txBody>
              <a:bodyPr wrap="square" lIns="0" rtlCol="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 </a:t>
                </a:r>
                <a:r>
                  <a:rPr kumimoji="0" lang="en-US" sz="133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ez</a:t>
                </a: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al día (3 </a:t>
                </a:r>
                <a:r>
                  <a:rPr kumimoji="0" lang="en-US" sz="133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eces</a:t>
                </a: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US" sz="133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or</a:t>
                </a: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US" sz="133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mana</a:t>
                </a: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)</a:t>
                </a:r>
              </a:p>
            </p:txBody>
          </p:sp>
        </p:grpSp>
      </p:grpSp>
      <p:grpSp>
        <p:nvGrpSpPr>
          <p:cNvPr id="40" name="Group 73">
            <a:extLst>
              <a:ext uri="{FF2B5EF4-FFF2-40B4-BE49-F238E27FC236}">
                <a16:creationId xmlns:a16="http://schemas.microsoft.com/office/drawing/2014/main" id="{BC3D90E7-A39D-8984-AC08-D530E3CFD2EF}"/>
              </a:ext>
            </a:extLst>
          </p:cNvPr>
          <p:cNvGrpSpPr/>
          <p:nvPr/>
        </p:nvGrpSpPr>
        <p:grpSpPr>
          <a:xfrm>
            <a:off x="2428462" y="4579318"/>
            <a:ext cx="1767837" cy="577973"/>
            <a:chOff x="1924249" y="1355696"/>
            <a:chExt cx="1325878" cy="433480"/>
          </a:xfrm>
        </p:grpSpPr>
        <p:sp>
          <p:nvSpPr>
            <p:cNvPr id="41" name="TextBox 92">
              <a:extLst>
                <a:ext uri="{FF2B5EF4-FFF2-40B4-BE49-F238E27FC236}">
                  <a16:creationId xmlns:a16="http://schemas.microsoft.com/office/drawing/2014/main" id="{885CBC4B-0952-68D6-64D7-E593BE4A438E}"/>
                </a:ext>
              </a:extLst>
            </p:cNvPr>
            <p:cNvSpPr txBox="1"/>
            <p:nvPr/>
          </p:nvSpPr>
          <p:spPr>
            <a:xfrm>
              <a:off x="1924249" y="1355696"/>
              <a:ext cx="1325878" cy="433480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square" lIns="426720" rIns="6096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333" b="1" i="0" u="none" strike="noStrike" kern="0" cap="none" spc="0" normalizeH="0" baseline="3000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2" name="Group 93">
              <a:extLst>
                <a:ext uri="{FF2B5EF4-FFF2-40B4-BE49-F238E27FC236}">
                  <a16:creationId xmlns:a16="http://schemas.microsoft.com/office/drawing/2014/main" id="{59E3368E-499F-1BDC-A277-9EE2403D959D}"/>
                </a:ext>
              </a:extLst>
            </p:cNvPr>
            <p:cNvGrpSpPr/>
            <p:nvPr/>
          </p:nvGrpSpPr>
          <p:grpSpPr>
            <a:xfrm>
              <a:off x="2019170" y="1480996"/>
              <a:ext cx="1009679" cy="182880"/>
              <a:chOff x="-2439824" y="3268205"/>
              <a:chExt cx="1009679" cy="182880"/>
            </a:xfrm>
          </p:grpSpPr>
          <p:sp>
            <p:nvSpPr>
              <p:cNvPr id="43" name="Oval 94">
                <a:extLst>
                  <a:ext uri="{FF2B5EF4-FFF2-40B4-BE49-F238E27FC236}">
                    <a16:creationId xmlns:a16="http://schemas.microsoft.com/office/drawing/2014/main" id="{B8198159-82F8-B014-E7F3-3FB90A9E4231}"/>
                  </a:ext>
                </a:extLst>
              </p:cNvPr>
              <p:cNvSpPr/>
              <p:nvPr/>
            </p:nvSpPr>
            <p:spPr>
              <a:xfrm>
                <a:off x="-2439824" y="3291065"/>
                <a:ext cx="137160" cy="137160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chemeClr val="bg1"/>
                </a:solidFill>
              </a:ln>
              <a:effectLst>
                <a:outerShdw blurRad="50800" algn="ctr" rotWithShape="0">
                  <a:schemeClr val="tx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TextBox 95">
                <a:extLst>
                  <a:ext uri="{FF2B5EF4-FFF2-40B4-BE49-F238E27FC236}">
                    <a16:creationId xmlns:a16="http://schemas.microsoft.com/office/drawing/2014/main" id="{89886C23-8D95-AEE5-8DB0-0D6075D5854A}"/>
                  </a:ext>
                </a:extLst>
              </p:cNvPr>
              <p:cNvSpPr txBox="1"/>
              <p:nvPr/>
            </p:nvSpPr>
            <p:spPr>
              <a:xfrm>
                <a:off x="-2247998" y="3268205"/>
                <a:ext cx="817853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na </a:t>
                </a:r>
                <a:r>
                  <a:rPr kumimoji="0" lang="en-US" sz="133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sión</a:t>
                </a:r>
                <a:endPara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5" name="Group 235">
            <a:extLst>
              <a:ext uri="{FF2B5EF4-FFF2-40B4-BE49-F238E27FC236}">
                <a16:creationId xmlns:a16="http://schemas.microsoft.com/office/drawing/2014/main" id="{C0CE3BEC-563E-5CE0-F103-DF9FB4334ABA}"/>
              </a:ext>
            </a:extLst>
          </p:cNvPr>
          <p:cNvGrpSpPr/>
          <p:nvPr/>
        </p:nvGrpSpPr>
        <p:grpSpPr>
          <a:xfrm>
            <a:off x="281897" y="2096813"/>
            <a:ext cx="2236656" cy="573024"/>
            <a:chOff x="314326" y="3402746"/>
            <a:chExt cx="1677492" cy="365760"/>
          </a:xfrm>
        </p:grpSpPr>
        <p:sp>
          <p:nvSpPr>
            <p:cNvPr id="46" name="TextBox 323">
              <a:extLst>
                <a:ext uri="{FF2B5EF4-FFF2-40B4-BE49-F238E27FC236}">
                  <a16:creationId xmlns:a16="http://schemas.microsoft.com/office/drawing/2014/main" id="{ED6B9B19-563D-FA6F-7E31-323B05C872D8}"/>
                </a:ext>
              </a:extLst>
            </p:cNvPr>
            <p:cNvSpPr txBox="1"/>
            <p:nvPr/>
          </p:nvSpPr>
          <p:spPr>
            <a:xfrm>
              <a:off x="347869" y="3402746"/>
              <a:ext cx="1643949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Tirbanibulina</a:t>
              </a:r>
              <a:r>
                <a:rPr kumimoji="0" lang="en-GB" sz="1400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47" name="Rectangle: Top Corners Rounded 324">
              <a:extLst>
                <a:ext uri="{FF2B5EF4-FFF2-40B4-BE49-F238E27FC236}">
                  <a16:creationId xmlns:a16="http://schemas.microsoft.com/office/drawing/2014/main" id="{A938609D-21F0-C6DF-44D6-DE10ABD8FE8A}"/>
                </a:ext>
              </a:extLst>
            </p:cNvPr>
            <p:cNvSpPr/>
            <p:nvPr/>
          </p:nvSpPr>
          <p:spPr>
            <a:xfrm rot="16200000">
              <a:off x="163450" y="3553622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8" name="Group 236">
            <a:extLst>
              <a:ext uri="{FF2B5EF4-FFF2-40B4-BE49-F238E27FC236}">
                <a16:creationId xmlns:a16="http://schemas.microsoft.com/office/drawing/2014/main" id="{18E9E3D1-7C0D-9CFD-B136-221AD80C77DE}"/>
              </a:ext>
            </a:extLst>
          </p:cNvPr>
          <p:cNvGrpSpPr/>
          <p:nvPr/>
        </p:nvGrpSpPr>
        <p:grpSpPr>
          <a:xfrm>
            <a:off x="2428462" y="2101047"/>
            <a:ext cx="1767837" cy="559608"/>
            <a:chOff x="1924249" y="3728163"/>
            <a:chExt cx="1325878" cy="419706"/>
          </a:xfrm>
        </p:grpSpPr>
        <p:sp>
          <p:nvSpPr>
            <p:cNvPr id="49" name="TextBox 315">
              <a:extLst>
                <a:ext uri="{FF2B5EF4-FFF2-40B4-BE49-F238E27FC236}">
                  <a16:creationId xmlns:a16="http://schemas.microsoft.com/office/drawing/2014/main" id="{6FC8D2A1-2AA3-6EFF-B1B5-FF8E9AA524E8}"/>
                </a:ext>
              </a:extLst>
            </p:cNvPr>
            <p:cNvSpPr txBox="1"/>
            <p:nvPr/>
          </p:nvSpPr>
          <p:spPr>
            <a:xfrm>
              <a:off x="1924249" y="3728163"/>
              <a:ext cx="1325878" cy="419706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square" lIns="426720" rIns="6096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333" b="1" i="0" u="none" strike="noStrike" kern="0" cap="none" spc="0" normalizeH="0" baseline="3000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0" name="Group 316">
              <a:extLst>
                <a:ext uri="{FF2B5EF4-FFF2-40B4-BE49-F238E27FC236}">
                  <a16:creationId xmlns:a16="http://schemas.microsoft.com/office/drawing/2014/main" id="{3F9E0DE3-DE62-CA0A-22B0-713E625CC746}"/>
                </a:ext>
              </a:extLst>
            </p:cNvPr>
            <p:cNvGrpSpPr/>
            <p:nvPr/>
          </p:nvGrpSpPr>
          <p:grpSpPr>
            <a:xfrm>
              <a:off x="2019170" y="3846576"/>
              <a:ext cx="1009679" cy="182880"/>
              <a:chOff x="-2439824" y="3268205"/>
              <a:chExt cx="1009679" cy="182880"/>
            </a:xfrm>
          </p:grpSpPr>
          <p:sp>
            <p:nvSpPr>
              <p:cNvPr id="51" name="Oval 320">
                <a:extLst>
                  <a:ext uri="{FF2B5EF4-FFF2-40B4-BE49-F238E27FC236}">
                    <a16:creationId xmlns:a16="http://schemas.microsoft.com/office/drawing/2014/main" id="{38BFB272-5942-FB80-2549-B7DF153C712C}"/>
                  </a:ext>
                </a:extLst>
              </p:cNvPr>
              <p:cNvSpPr/>
              <p:nvPr/>
            </p:nvSpPr>
            <p:spPr>
              <a:xfrm>
                <a:off x="-2439824" y="3291065"/>
                <a:ext cx="137160" cy="137160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chemeClr val="bg1"/>
                </a:solidFill>
              </a:ln>
              <a:effectLst>
                <a:outerShdw blurRad="50800" algn="ctr" rotWithShape="0">
                  <a:schemeClr val="tx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TextBox 321">
                <a:extLst>
                  <a:ext uri="{FF2B5EF4-FFF2-40B4-BE49-F238E27FC236}">
                    <a16:creationId xmlns:a16="http://schemas.microsoft.com/office/drawing/2014/main" id="{EF462483-823B-29B5-7B05-5337721AEDB0}"/>
                  </a:ext>
                </a:extLst>
              </p:cNvPr>
              <p:cNvSpPr txBox="1"/>
              <p:nvPr/>
            </p:nvSpPr>
            <p:spPr>
              <a:xfrm>
                <a:off x="-2247998" y="3268205"/>
                <a:ext cx="817853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 </a:t>
                </a:r>
                <a:r>
                  <a:rPr kumimoji="0" lang="en-US" sz="133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ez</a:t>
                </a: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al día</a:t>
                </a:r>
              </a:p>
            </p:txBody>
          </p:sp>
        </p:grpSp>
      </p:grpSp>
      <p:grpSp>
        <p:nvGrpSpPr>
          <p:cNvPr id="53" name="Group 8">
            <a:extLst>
              <a:ext uri="{FF2B5EF4-FFF2-40B4-BE49-F238E27FC236}">
                <a16:creationId xmlns:a16="http://schemas.microsoft.com/office/drawing/2014/main" id="{F726D64C-B47A-336F-2E6E-481897899FDD}"/>
              </a:ext>
            </a:extLst>
          </p:cNvPr>
          <p:cNvGrpSpPr/>
          <p:nvPr/>
        </p:nvGrpSpPr>
        <p:grpSpPr>
          <a:xfrm>
            <a:off x="4344643" y="1447467"/>
            <a:ext cx="1767840" cy="3805036"/>
            <a:chOff x="3327932" y="1085600"/>
            <a:chExt cx="1325880" cy="2853777"/>
          </a:xfrm>
        </p:grpSpPr>
        <p:grpSp>
          <p:nvGrpSpPr>
            <p:cNvPr id="54" name="Group 33">
              <a:extLst>
                <a:ext uri="{FF2B5EF4-FFF2-40B4-BE49-F238E27FC236}">
                  <a16:creationId xmlns:a16="http://schemas.microsoft.com/office/drawing/2014/main" id="{38AB338F-C089-A8DD-75D6-A6B8F504C354}"/>
                </a:ext>
              </a:extLst>
            </p:cNvPr>
            <p:cNvGrpSpPr/>
            <p:nvPr/>
          </p:nvGrpSpPr>
          <p:grpSpPr>
            <a:xfrm>
              <a:off x="3327932" y="1085600"/>
              <a:ext cx="1325880" cy="2853777"/>
              <a:chOff x="2240730" y="2858913"/>
              <a:chExt cx="5507006" cy="2853777"/>
            </a:xfrm>
          </p:grpSpPr>
          <p:sp>
            <p:nvSpPr>
              <p:cNvPr id="81" name="Rectángulo 10">
                <a:extLst>
                  <a:ext uri="{FF2B5EF4-FFF2-40B4-BE49-F238E27FC236}">
                    <a16:creationId xmlns:a16="http://schemas.microsoft.com/office/drawing/2014/main" id="{AD30A6E9-9BA4-6B2C-DA6B-44E1D9D9294D}"/>
                  </a:ext>
                </a:extLst>
              </p:cNvPr>
              <p:cNvSpPr/>
              <p:nvPr/>
            </p:nvSpPr>
            <p:spPr>
              <a:xfrm>
                <a:off x="2240730" y="3063749"/>
                <a:ext cx="5507006" cy="2648941"/>
              </a:xfrm>
              <a:prstGeom prst="roundRect">
                <a:avLst>
                  <a:gd name="adj" fmla="val 50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63500" algn="ctr" rotWithShape="0">
                  <a:srgbClr val="000000">
                    <a:alpha val="2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3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" name="Rectángulo 11">
                <a:extLst>
                  <a:ext uri="{FF2B5EF4-FFF2-40B4-BE49-F238E27FC236}">
                    <a16:creationId xmlns:a16="http://schemas.microsoft.com/office/drawing/2014/main" id="{58E917BE-EC83-2691-3E96-F99EF4AB8457}"/>
                  </a:ext>
                </a:extLst>
              </p:cNvPr>
              <p:cNvSpPr/>
              <p:nvPr/>
            </p:nvSpPr>
            <p:spPr>
              <a:xfrm>
                <a:off x="2240730" y="2858913"/>
                <a:ext cx="5507006" cy="457200"/>
              </a:xfrm>
              <a:prstGeom prst="round2SameRect">
                <a:avLst/>
              </a:prstGeom>
              <a:solidFill>
                <a:srgbClr val="0028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333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(Body)"/>
                    <a:ea typeface="+mn-ea"/>
                    <a:cs typeface="+mn-cs"/>
                  </a:rPr>
                  <a:t>Tratamiento</a:t>
                </a:r>
                <a:r>
                  <a:rPr kumimoji="0" lang="en-GB" sz="1333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(Body)"/>
                    <a:ea typeface="+mn-ea"/>
                    <a:cs typeface="+mn-cs"/>
                  </a:rPr>
                  <a:t> en consulta</a:t>
                </a:r>
              </a:p>
            </p:txBody>
          </p:sp>
        </p:grpSp>
        <p:pic>
          <p:nvPicPr>
            <p:cNvPr id="55" name="Graphic 34" descr="Doctor female with solid fill">
              <a:extLst>
                <a:ext uri="{FF2B5EF4-FFF2-40B4-BE49-F238E27FC236}">
                  <a16:creationId xmlns:a16="http://schemas.microsoft.com/office/drawing/2014/main" id="{1953A5CF-4DB7-7A8E-A426-E476A3425F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386417" y="1173064"/>
              <a:ext cx="274320" cy="274320"/>
            </a:xfrm>
            <a:prstGeom prst="rect">
              <a:avLst/>
            </a:prstGeom>
          </p:spPr>
        </p:pic>
        <p:grpSp>
          <p:nvGrpSpPr>
            <p:cNvPr id="56" name="Group 59">
              <a:extLst>
                <a:ext uri="{FF2B5EF4-FFF2-40B4-BE49-F238E27FC236}">
                  <a16:creationId xmlns:a16="http://schemas.microsoft.com/office/drawing/2014/main" id="{DD2EAD13-E48F-832B-A74C-0BA3DE0AD1CE}"/>
                </a:ext>
              </a:extLst>
            </p:cNvPr>
            <p:cNvGrpSpPr/>
            <p:nvPr/>
          </p:nvGrpSpPr>
          <p:grpSpPr>
            <a:xfrm>
              <a:off x="3327932" y="2034452"/>
              <a:ext cx="1325878" cy="426591"/>
              <a:chOff x="1924249" y="1389555"/>
              <a:chExt cx="1325878" cy="426591"/>
            </a:xfrm>
          </p:grpSpPr>
          <p:sp>
            <p:nvSpPr>
              <p:cNvPr id="77" name="TextBox 183">
                <a:extLst>
                  <a:ext uri="{FF2B5EF4-FFF2-40B4-BE49-F238E27FC236}">
                    <a16:creationId xmlns:a16="http://schemas.microsoft.com/office/drawing/2014/main" id="{857616EC-6CDF-8169-8BB8-F5ECCD3125BB}"/>
                  </a:ext>
                </a:extLst>
              </p:cNvPr>
              <p:cNvSpPr txBox="1"/>
              <p:nvPr/>
            </p:nvSpPr>
            <p:spPr>
              <a:xfrm>
                <a:off x="1924249" y="1389555"/>
                <a:ext cx="1325878" cy="426591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78" name="Group 184">
                <a:extLst>
                  <a:ext uri="{FF2B5EF4-FFF2-40B4-BE49-F238E27FC236}">
                    <a16:creationId xmlns:a16="http://schemas.microsoft.com/office/drawing/2014/main" id="{7ED98796-713A-D79F-338B-E1A7B15FB050}"/>
                  </a:ext>
                </a:extLst>
              </p:cNvPr>
              <p:cNvGrpSpPr/>
              <p:nvPr/>
            </p:nvGrpSpPr>
            <p:grpSpPr>
              <a:xfrm>
                <a:off x="2019170" y="1511410"/>
                <a:ext cx="1009679" cy="182880"/>
                <a:chOff x="-2439824" y="3298619"/>
                <a:chExt cx="1009679" cy="182880"/>
              </a:xfrm>
            </p:grpSpPr>
            <p:sp>
              <p:nvSpPr>
                <p:cNvPr id="79" name="Oval 185">
                  <a:extLst>
                    <a:ext uri="{FF2B5EF4-FFF2-40B4-BE49-F238E27FC236}">
                      <a16:creationId xmlns:a16="http://schemas.microsoft.com/office/drawing/2014/main" id="{23ACBD21-BCA8-E6D5-871C-856A33B129F3}"/>
                    </a:ext>
                  </a:extLst>
                </p:cNvPr>
                <p:cNvSpPr/>
                <p:nvPr/>
              </p:nvSpPr>
              <p:spPr>
                <a:xfrm>
                  <a:off x="-2439824" y="3321479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TextBox 186">
                  <a:extLst>
                    <a:ext uri="{FF2B5EF4-FFF2-40B4-BE49-F238E27FC236}">
                      <a16:creationId xmlns:a16="http://schemas.microsoft.com/office/drawing/2014/main" id="{18A4B05B-0642-810C-9176-DFAE5673FF0C}"/>
                    </a:ext>
                  </a:extLst>
                </p:cNvPr>
                <p:cNvSpPr txBox="1"/>
                <p:nvPr/>
              </p:nvSpPr>
              <p:spPr>
                <a:xfrm>
                  <a:off x="-2247998" y="3298619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No</a:t>
                  </a:r>
                </a:p>
              </p:txBody>
            </p:sp>
          </p:grpSp>
        </p:grpSp>
        <p:grpSp>
          <p:nvGrpSpPr>
            <p:cNvPr id="57" name="Group 64">
              <a:extLst>
                <a:ext uri="{FF2B5EF4-FFF2-40B4-BE49-F238E27FC236}">
                  <a16:creationId xmlns:a16="http://schemas.microsoft.com/office/drawing/2014/main" id="{B4776B50-6122-6C1A-1552-F842DEB26F1A}"/>
                </a:ext>
              </a:extLst>
            </p:cNvPr>
            <p:cNvGrpSpPr/>
            <p:nvPr/>
          </p:nvGrpSpPr>
          <p:grpSpPr>
            <a:xfrm>
              <a:off x="3327932" y="2500689"/>
              <a:ext cx="1325878" cy="429770"/>
              <a:chOff x="1924249" y="1357551"/>
              <a:chExt cx="1325878" cy="429770"/>
            </a:xfrm>
          </p:grpSpPr>
          <p:sp>
            <p:nvSpPr>
              <p:cNvPr id="73" name="TextBox 127">
                <a:extLst>
                  <a:ext uri="{FF2B5EF4-FFF2-40B4-BE49-F238E27FC236}">
                    <a16:creationId xmlns:a16="http://schemas.microsoft.com/office/drawing/2014/main" id="{91B3E392-B537-2A74-DEF8-BD3011387743}"/>
                  </a:ext>
                </a:extLst>
              </p:cNvPr>
              <p:cNvSpPr txBox="1"/>
              <p:nvPr/>
            </p:nvSpPr>
            <p:spPr>
              <a:xfrm>
                <a:off x="1924249" y="1357551"/>
                <a:ext cx="1325878" cy="429770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74" name="Group 128">
                <a:extLst>
                  <a:ext uri="{FF2B5EF4-FFF2-40B4-BE49-F238E27FC236}">
                    <a16:creationId xmlns:a16="http://schemas.microsoft.com/office/drawing/2014/main" id="{DAC15F92-953D-C553-7736-79EF7BA85337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75" name="Oval 129">
                  <a:extLst>
                    <a:ext uri="{FF2B5EF4-FFF2-40B4-BE49-F238E27FC236}">
                      <a16:creationId xmlns:a16="http://schemas.microsoft.com/office/drawing/2014/main" id="{43B2FF28-F053-6ADC-A9D5-C9D7BBB8CB42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TextBox 130">
                  <a:extLst>
                    <a:ext uri="{FF2B5EF4-FFF2-40B4-BE49-F238E27FC236}">
                      <a16:creationId xmlns:a16="http://schemas.microsoft.com/office/drawing/2014/main" id="{E0D6CA56-9B18-5958-D975-86FB6FF24998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No</a:t>
                  </a:r>
                </a:p>
              </p:txBody>
            </p:sp>
          </p:grpSp>
        </p:grpSp>
        <p:grpSp>
          <p:nvGrpSpPr>
            <p:cNvPr id="58" name="Group 69">
              <a:extLst>
                <a:ext uri="{FF2B5EF4-FFF2-40B4-BE49-F238E27FC236}">
                  <a16:creationId xmlns:a16="http://schemas.microsoft.com/office/drawing/2014/main" id="{8521C506-88D8-8592-F31D-AEAD2892CE52}"/>
                </a:ext>
              </a:extLst>
            </p:cNvPr>
            <p:cNvGrpSpPr/>
            <p:nvPr/>
          </p:nvGrpSpPr>
          <p:grpSpPr>
            <a:xfrm>
              <a:off x="3327932" y="2968517"/>
              <a:ext cx="1325878" cy="429768"/>
              <a:chOff x="1924249" y="1357552"/>
              <a:chExt cx="1325878" cy="429768"/>
            </a:xfrm>
          </p:grpSpPr>
          <p:sp>
            <p:nvSpPr>
              <p:cNvPr id="69" name="TextBox 106">
                <a:extLst>
                  <a:ext uri="{FF2B5EF4-FFF2-40B4-BE49-F238E27FC236}">
                    <a16:creationId xmlns:a16="http://schemas.microsoft.com/office/drawing/2014/main" id="{2B2E20DE-F966-2F17-4603-53D3ACBF4491}"/>
                  </a:ext>
                </a:extLst>
              </p:cNvPr>
              <p:cNvSpPr txBox="1"/>
              <p:nvPr/>
            </p:nvSpPr>
            <p:spPr>
              <a:xfrm>
                <a:off x="1924249" y="135755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70" name="Group 107">
                <a:extLst>
                  <a:ext uri="{FF2B5EF4-FFF2-40B4-BE49-F238E27FC236}">
                    <a16:creationId xmlns:a16="http://schemas.microsoft.com/office/drawing/2014/main" id="{9E6314E0-3DEF-E46C-211C-BB0159F09A30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71" name="Oval 108">
                  <a:extLst>
                    <a:ext uri="{FF2B5EF4-FFF2-40B4-BE49-F238E27FC236}">
                      <a16:creationId xmlns:a16="http://schemas.microsoft.com/office/drawing/2014/main" id="{A1F4F55F-ADF4-1846-50B5-F8DDDCEB4FC3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TextBox 109">
                  <a:extLst>
                    <a:ext uri="{FF2B5EF4-FFF2-40B4-BE49-F238E27FC236}">
                      <a16:creationId xmlns:a16="http://schemas.microsoft.com/office/drawing/2014/main" id="{A06AADC4-1484-19F1-7007-90350368E2EC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No</a:t>
                  </a:r>
                </a:p>
              </p:txBody>
            </p:sp>
          </p:grpSp>
        </p:grpSp>
        <p:grpSp>
          <p:nvGrpSpPr>
            <p:cNvPr id="59" name="Group 74">
              <a:extLst>
                <a:ext uri="{FF2B5EF4-FFF2-40B4-BE49-F238E27FC236}">
                  <a16:creationId xmlns:a16="http://schemas.microsoft.com/office/drawing/2014/main" id="{B6816F37-45F2-8002-E5B3-67838F000B65}"/>
                </a:ext>
              </a:extLst>
            </p:cNvPr>
            <p:cNvGrpSpPr/>
            <p:nvPr/>
          </p:nvGrpSpPr>
          <p:grpSpPr>
            <a:xfrm>
              <a:off x="3327932" y="3434488"/>
              <a:ext cx="1325878" cy="433480"/>
              <a:chOff x="1924249" y="1355696"/>
              <a:chExt cx="1325878" cy="433480"/>
            </a:xfrm>
          </p:grpSpPr>
          <p:sp>
            <p:nvSpPr>
              <p:cNvPr id="65" name="TextBox 88">
                <a:extLst>
                  <a:ext uri="{FF2B5EF4-FFF2-40B4-BE49-F238E27FC236}">
                    <a16:creationId xmlns:a16="http://schemas.microsoft.com/office/drawing/2014/main" id="{125329E5-7F36-1C3D-3815-1DF2E809F445}"/>
                  </a:ext>
                </a:extLst>
              </p:cNvPr>
              <p:cNvSpPr txBox="1"/>
              <p:nvPr/>
            </p:nvSpPr>
            <p:spPr>
              <a:xfrm>
                <a:off x="1924249" y="1355696"/>
                <a:ext cx="1325878" cy="433480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66" name="Group 89">
                <a:extLst>
                  <a:ext uri="{FF2B5EF4-FFF2-40B4-BE49-F238E27FC236}">
                    <a16:creationId xmlns:a16="http://schemas.microsoft.com/office/drawing/2014/main" id="{CDEA556E-A7C1-475A-98C2-206BAFF8AEB1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67" name="Oval 90">
                  <a:extLst>
                    <a:ext uri="{FF2B5EF4-FFF2-40B4-BE49-F238E27FC236}">
                      <a16:creationId xmlns:a16="http://schemas.microsoft.com/office/drawing/2014/main" id="{617451DA-15E0-6345-D483-D82E0936BB17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TextBox 91">
                  <a:extLst>
                    <a:ext uri="{FF2B5EF4-FFF2-40B4-BE49-F238E27FC236}">
                      <a16:creationId xmlns:a16="http://schemas.microsoft.com/office/drawing/2014/main" id="{EDF538DF-D7AC-25F2-819F-928B8D546F1A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Yes</a:t>
                  </a:r>
                </a:p>
              </p:txBody>
            </p:sp>
          </p:grpSp>
        </p:grpSp>
        <p:grpSp>
          <p:nvGrpSpPr>
            <p:cNvPr id="60" name="Group 237">
              <a:extLst>
                <a:ext uri="{FF2B5EF4-FFF2-40B4-BE49-F238E27FC236}">
                  <a16:creationId xmlns:a16="http://schemas.microsoft.com/office/drawing/2014/main" id="{E23DADEF-0FE9-3421-53BF-B2FDA7E2E6E4}"/>
                </a:ext>
              </a:extLst>
            </p:cNvPr>
            <p:cNvGrpSpPr/>
            <p:nvPr/>
          </p:nvGrpSpPr>
          <p:grpSpPr>
            <a:xfrm>
              <a:off x="3327932" y="1572610"/>
              <a:ext cx="1325878" cy="426056"/>
              <a:chOff x="3327932" y="3724988"/>
              <a:chExt cx="1325878" cy="426056"/>
            </a:xfrm>
          </p:grpSpPr>
          <p:sp>
            <p:nvSpPr>
              <p:cNvPr id="61" name="TextBox 305">
                <a:extLst>
                  <a:ext uri="{FF2B5EF4-FFF2-40B4-BE49-F238E27FC236}">
                    <a16:creationId xmlns:a16="http://schemas.microsoft.com/office/drawing/2014/main" id="{0DD01AA3-9938-B2F9-F543-ED7C7BEF535C}"/>
                  </a:ext>
                </a:extLst>
              </p:cNvPr>
              <p:cNvSpPr txBox="1"/>
              <p:nvPr/>
            </p:nvSpPr>
            <p:spPr>
              <a:xfrm>
                <a:off x="3327932" y="3724988"/>
                <a:ext cx="1325878" cy="426056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62" name="Group 306">
                <a:extLst>
                  <a:ext uri="{FF2B5EF4-FFF2-40B4-BE49-F238E27FC236}">
                    <a16:creationId xmlns:a16="http://schemas.microsoft.com/office/drawing/2014/main" id="{7FFFD541-BFEC-591F-1333-549BE8F9543A}"/>
                  </a:ext>
                </a:extLst>
              </p:cNvPr>
              <p:cNvGrpSpPr/>
              <p:nvPr/>
            </p:nvGrpSpPr>
            <p:grpSpPr>
              <a:xfrm>
                <a:off x="3422853" y="384657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63" name="Oval 310">
                  <a:extLst>
                    <a:ext uri="{FF2B5EF4-FFF2-40B4-BE49-F238E27FC236}">
                      <a16:creationId xmlns:a16="http://schemas.microsoft.com/office/drawing/2014/main" id="{FA5960CE-0015-450F-9739-DDDEDBB97C78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TextBox 311">
                  <a:extLst>
                    <a:ext uri="{FF2B5EF4-FFF2-40B4-BE49-F238E27FC236}">
                      <a16:creationId xmlns:a16="http://schemas.microsoft.com/office/drawing/2014/main" id="{CE98C4FF-4910-8CBB-387A-3CCDFBFD7179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No</a:t>
                  </a:r>
                </a:p>
              </p:txBody>
            </p:sp>
          </p:grpSp>
        </p:grpSp>
      </p:grpSp>
      <p:grpSp>
        <p:nvGrpSpPr>
          <p:cNvPr id="83" name="Group 7">
            <a:extLst>
              <a:ext uri="{FF2B5EF4-FFF2-40B4-BE49-F238E27FC236}">
                <a16:creationId xmlns:a16="http://schemas.microsoft.com/office/drawing/2014/main" id="{836D0F9E-DB9B-9D49-8FDE-6C83A48F7E30}"/>
              </a:ext>
            </a:extLst>
          </p:cNvPr>
          <p:cNvGrpSpPr/>
          <p:nvPr/>
        </p:nvGrpSpPr>
        <p:grpSpPr>
          <a:xfrm>
            <a:off x="6216221" y="1447467"/>
            <a:ext cx="1767840" cy="3805036"/>
            <a:chOff x="4731616" y="1085600"/>
            <a:chExt cx="1325880" cy="2853777"/>
          </a:xfrm>
        </p:grpSpPr>
        <p:grpSp>
          <p:nvGrpSpPr>
            <p:cNvPr id="84" name="Group 38">
              <a:extLst>
                <a:ext uri="{FF2B5EF4-FFF2-40B4-BE49-F238E27FC236}">
                  <a16:creationId xmlns:a16="http://schemas.microsoft.com/office/drawing/2014/main" id="{438F677B-438E-62F4-318F-C45152188AAB}"/>
                </a:ext>
              </a:extLst>
            </p:cNvPr>
            <p:cNvGrpSpPr/>
            <p:nvPr/>
          </p:nvGrpSpPr>
          <p:grpSpPr>
            <a:xfrm>
              <a:off x="4731616" y="1085600"/>
              <a:ext cx="1325880" cy="2853777"/>
              <a:chOff x="2240730" y="2858913"/>
              <a:chExt cx="5507006" cy="2853777"/>
            </a:xfrm>
          </p:grpSpPr>
          <p:sp>
            <p:nvSpPr>
              <p:cNvPr id="111" name="Rectángulo 10">
                <a:extLst>
                  <a:ext uri="{FF2B5EF4-FFF2-40B4-BE49-F238E27FC236}">
                    <a16:creationId xmlns:a16="http://schemas.microsoft.com/office/drawing/2014/main" id="{EE47197F-F8E3-7E51-6C2F-FFFEA5175B1D}"/>
                  </a:ext>
                </a:extLst>
              </p:cNvPr>
              <p:cNvSpPr/>
              <p:nvPr/>
            </p:nvSpPr>
            <p:spPr>
              <a:xfrm>
                <a:off x="2240730" y="3063749"/>
                <a:ext cx="5507006" cy="2648941"/>
              </a:xfrm>
              <a:prstGeom prst="roundRect">
                <a:avLst>
                  <a:gd name="adj" fmla="val 50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63500" algn="ctr" rotWithShape="0">
                  <a:srgbClr val="000000">
                    <a:alpha val="2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3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2" name="Rectángulo 11">
                <a:extLst>
                  <a:ext uri="{FF2B5EF4-FFF2-40B4-BE49-F238E27FC236}">
                    <a16:creationId xmlns:a16="http://schemas.microsoft.com/office/drawing/2014/main" id="{BABC8D9C-69BE-3080-2757-1496832A0488}"/>
                  </a:ext>
                </a:extLst>
              </p:cNvPr>
              <p:cNvSpPr/>
              <p:nvPr/>
            </p:nvSpPr>
            <p:spPr>
              <a:xfrm>
                <a:off x="2240730" y="2858913"/>
                <a:ext cx="5507006" cy="457200"/>
              </a:xfrm>
              <a:prstGeom prst="round2SameRect">
                <a:avLst/>
              </a:prstGeom>
              <a:solidFill>
                <a:srgbClr val="0028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333" b="1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(Body)"/>
                    <a:ea typeface="+mn-ea"/>
                    <a:cs typeface="+mn-cs"/>
                  </a:rPr>
                  <a:t>Duración</a:t>
                </a:r>
                <a:endParaRPr kumimoji="0" lang="en-GB" sz="1333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(Body)"/>
                  <a:ea typeface="+mn-ea"/>
                  <a:cs typeface="+mn-cs"/>
                </a:endParaRPr>
              </a:p>
            </p:txBody>
          </p:sp>
        </p:grpSp>
        <p:pic>
          <p:nvPicPr>
            <p:cNvPr id="85" name="Graphic 39" descr="Monthly calendar outline">
              <a:extLst>
                <a:ext uri="{FF2B5EF4-FFF2-40B4-BE49-F238E27FC236}">
                  <a16:creationId xmlns:a16="http://schemas.microsoft.com/office/drawing/2014/main" id="{9E3216EC-E7AF-8CB4-CA91-B4A35348345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50447" y="1173064"/>
              <a:ext cx="274320" cy="274320"/>
            </a:xfrm>
            <a:prstGeom prst="rect">
              <a:avLst/>
            </a:prstGeom>
          </p:spPr>
        </p:pic>
        <p:grpSp>
          <p:nvGrpSpPr>
            <p:cNvPr id="86" name="Group 60">
              <a:extLst>
                <a:ext uri="{FF2B5EF4-FFF2-40B4-BE49-F238E27FC236}">
                  <a16:creationId xmlns:a16="http://schemas.microsoft.com/office/drawing/2014/main" id="{27A558F7-7395-44C1-6F67-F348D3804CF8}"/>
                </a:ext>
              </a:extLst>
            </p:cNvPr>
            <p:cNvGrpSpPr/>
            <p:nvPr/>
          </p:nvGrpSpPr>
          <p:grpSpPr>
            <a:xfrm>
              <a:off x="4731618" y="2034452"/>
              <a:ext cx="1325878" cy="426591"/>
              <a:chOff x="1924249" y="1389555"/>
              <a:chExt cx="1325878" cy="426591"/>
            </a:xfrm>
          </p:grpSpPr>
          <p:sp>
            <p:nvSpPr>
              <p:cNvPr id="107" name="TextBox 157">
                <a:extLst>
                  <a:ext uri="{FF2B5EF4-FFF2-40B4-BE49-F238E27FC236}">
                    <a16:creationId xmlns:a16="http://schemas.microsoft.com/office/drawing/2014/main" id="{B131C261-DDC9-5478-551D-292A0090734D}"/>
                  </a:ext>
                </a:extLst>
              </p:cNvPr>
              <p:cNvSpPr txBox="1"/>
              <p:nvPr/>
            </p:nvSpPr>
            <p:spPr>
              <a:xfrm>
                <a:off x="1924249" y="1389555"/>
                <a:ext cx="1325878" cy="426591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08" name="Group 163">
                <a:extLst>
                  <a:ext uri="{FF2B5EF4-FFF2-40B4-BE49-F238E27FC236}">
                    <a16:creationId xmlns:a16="http://schemas.microsoft.com/office/drawing/2014/main" id="{8BB8164A-3347-C843-C540-959A340B7650}"/>
                  </a:ext>
                </a:extLst>
              </p:cNvPr>
              <p:cNvGrpSpPr/>
              <p:nvPr/>
            </p:nvGrpSpPr>
            <p:grpSpPr>
              <a:xfrm>
                <a:off x="2019170" y="1511410"/>
                <a:ext cx="1009679" cy="182880"/>
                <a:chOff x="-2439824" y="3298619"/>
                <a:chExt cx="1009679" cy="182880"/>
              </a:xfrm>
            </p:grpSpPr>
            <p:sp>
              <p:nvSpPr>
                <p:cNvPr id="109" name="Oval 165">
                  <a:extLst>
                    <a:ext uri="{FF2B5EF4-FFF2-40B4-BE49-F238E27FC236}">
                      <a16:creationId xmlns:a16="http://schemas.microsoft.com/office/drawing/2014/main" id="{1BB90109-FF9B-7E3A-F5D4-305E8C9E232F}"/>
                    </a:ext>
                  </a:extLst>
                </p:cNvPr>
                <p:cNvSpPr/>
                <p:nvPr/>
              </p:nvSpPr>
              <p:spPr>
                <a:xfrm>
                  <a:off x="-2439824" y="3321479"/>
                  <a:ext cx="137160" cy="13716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TextBox 168">
                  <a:extLst>
                    <a:ext uri="{FF2B5EF4-FFF2-40B4-BE49-F238E27FC236}">
                      <a16:creationId xmlns:a16="http://schemas.microsoft.com/office/drawing/2014/main" id="{9BA23C63-4D16-39BC-FB0D-E88725B0D705}"/>
                    </a:ext>
                  </a:extLst>
                </p:cNvPr>
                <p:cNvSpPr txBox="1"/>
                <p:nvPr/>
              </p:nvSpPr>
              <p:spPr>
                <a:xfrm>
                  <a:off x="-2247998" y="3298619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1-28 días</a:t>
                  </a:r>
                </a:p>
              </p:txBody>
            </p:sp>
          </p:grpSp>
        </p:grpSp>
        <p:grpSp>
          <p:nvGrpSpPr>
            <p:cNvPr id="87" name="Group 65">
              <a:extLst>
                <a:ext uri="{FF2B5EF4-FFF2-40B4-BE49-F238E27FC236}">
                  <a16:creationId xmlns:a16="http://schemas.microsoft.com/office/drawing/2014/main" id="{6C3F58AC-5E19-F552-F94F-75AEAAD76F04}"/>
                </a:ext>
              </a:extLst>
            </p:cNvPr>
            <p:cNvGrpSpPr/>
            <p:nvPr/>
          </p:nvGrpSpPr>
          <p:grpSpPr>
            <a:xfrm>
              <a:off x="4731618" y="2500689"/>
              <a:ext cx="1325878" cy="429770"/>
              <a:chOff x="1924249" y="1357551"/>
              <a:chExt cx="1325878" cy="429770"/>
            </a:xfrm>
          </p:grpSpPr>
          <p:sp>
            <p:nvSpPr>
              <p:cNvPr id="103" name="TextBox 121">
                <a:extLst>
                  <a:ext uri="{FF2B5EF4-FFF2-40B4-BE49-F238E27FC236}">
                    <a16:creationId xmlns:a16="http://schemas.microsoft.com/office/drawing/2014/main" id="{562CDA6F-0943-0549-030D-799E9655783E}"/>
                  </a:ext>
                </a:extLst>
              </p:cNvPr>
              <p:cNvSpPr txBox="1"/>
              <p:nvPr/>
            </p:nvSpPr>
            <p:spPr>
              <a:xfrm>
                <a:off x="1924249" y="1357551"/>
                <a:ext cx="1325878" cy="429770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04" name="Group 122">
                <a:extLst>
                  <a:ext uri="{FF2B5EF4-FFF2-40B4-BE49-F238E27FC236}">
                    <a16:creationId xmlns:a16="http://schemas.microsoft.com/office/drawing/2014/main" id="{C9976E0B-B9B6-7F6F-4CF1-F30891E4EAAA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105" name="Oval 125">
                  <a:extLst>
                    <a:ext uri="{FF2B5EF4-FFF2-40B4-BE49-F238E27FC236}">
                      <a16:creationId xmlns:a16="http://schemas.microsoft.com/office/drawing/2014/main" id="{B1CF1DF6-4283-6625-3E46-1C81886AE1C7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TextBox 126">
                  <a:extLst>
                    <a:ext uri="{FF2B5EF4-FFF2-40B4-BE49-F238E27FC236}">
                      <a16:creationId xmlns:a16="http://schemas.microsoft.com/office/drawing/2014/main" id="{9801BC9F-7445-740A-E6DC-9D803199F557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90 días</a:t>
                  </a:r>
                </a:p>
              </p:txBody>
            </p:sp>
          </p:grpSp>
        </p:grpSp>
        <p:grpSp>
          <p:nvGrpSpPr>
            <p:cNvPr id="88" name="Group 70">
              <a:extLst>
                <a:ext uri="{FF2B5EF4-FFF2-40B4-BE49-F238E27FC236}">
                  <a16:creationId xmlns:a16="http://schemas.microsoft.com/office/drawing/2014/main" id="{DB9059E4-B85F-A91E-C008-A212146122D0}"/>
                </a:ext>
              </a:extLst>
            </p:cNvPr>
            <p:cNvGrpSpPr/>
            <p:nvPr/>
          </p:nvGrpSpPr>
          <p:grpSpPr>
            <a:xfrm>
              <a:off x="4731618" y="2968517"/>
              <a:ext cx="1325878" cy="429768"/>
              <a:chOff x="1924249" y="1357552"/>
              <a:chExt cx="1325878" cy="429768"/>
            </a:xfrm>
          </p:grpSpPr>
          <p:sp>
            <p:nvSpPr>
              <p:cNvPr id="99" name="TextBox 102">
                <a:extLst>
                  <a:ext uri="{FF2B5EF4-FFF2-40B4-BE49-F238E27FC236}">
                    <a16:creationId xmlns:a16="http://schemas.microsoft.com/office/drawing/2014/main" id="{27A9AC7E-1206-EFDB-D895-FFD1CE3C8E79}"/>
                  </a:ext>
                </a:extLst>
              </p:cNvPr>
              <p:cNvSpPr txBox="1"/>
              <p:nvPr/>
            </p:nvSpPr>
            <p:spPr>
              <a:xfrm>
                <a:off x="1924249" y="135755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00" name="Group 103">
                <a:extLst>
                  <a:ext uri="{FF2B5EF4-FFF2-40B4-BE49-F238E27FC236}">
                    <a16:creationId xmlns:a16="http://schemas.microsoft.com/office/drawing/2014/main" id="{50C18721-8036-4309-19B3-3FA16874BF4F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101" name="Oval 104">
                  <a:extLst>
                    <a:ext uri="{FF2B5EF4-FFF2-40B4-BE49-F238E27FC236}">
                      <a16:creationId xmlns:a16="http://schemas.microsoft.com/office/drawing/2014/main" id="{8EF67A46-BFD5-5A97-0FFB-B1DAA7EAE682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TextBox 105">
                  <a:extLst>
                    <a:ext uri="{FF2B5EF4-FFF2-40B4-BE49-F238E27FC236}">
                      <a16:creationId xmlns:a16="http://schemas.microsoft.com/office/drawing/2014/main" id="{F036A138-2025-4C03-0B55-E2E64674F4BE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30 días</a:t>
                  </a:r>
                </a:p>
              </p:txBody>
            </p:sp>
          </p:grpSp>
        </p:grpSp>
        <p:grpSp>
          <p:nvGrpSpPr>
            <p:cNvPr id="89" name="Group 75">
              <a:extLst>
                <a:ext uri="{FF2B5EF4-FFF2-40B4-BE49-F238E27FC236}">
                  <a16:creationId xmlns:a16="http://schemas.microsoft.com/office/drawing/2014/main" id="{7DD2A475-B3F1-83D1-6857-1941B30F4A01}"/>
                </a:ext>
              </a:extLst>
            </p:cNvPr>
            <p:cNvGrpSpPr/>
            <p:nvPr/>
          </p:nvGrpSpPr>
          <p:grpSpPr>
            <a:xfrm>
              <a:off x="4731618" y="3434488"/>
              <a:ext cx="1325878" cy="433480"/>
              <a:chOff x="1924249" y="1355696"/>
              <a:chExt cx="1325878" cy="433480"/>
            </a:xfrm>
          </p:grpSpPr>
          <p:sp>
            <p:nvSpPr>
              <p:cNvPr id="95" name="TextBox 84">
                <a:extLst>
                  <a:ext uri="{FF2B5EF4-FFF2-40B4-BE49-F238E27FC236}">
                    <a16:creationId xmlns:a16="http://schemas.microsoft.com/office/drawing/2014/main" id="{95B04869-5778-1F18-500F-0E904FE067E9}"/>
                  </a:ext>
                </a:extLst>
              </p:cNvPr>
              <p:cNvSpPr txBox="1"/>
              <p:nvPr/>
            </p:nvSpPr>
            <p:spPr>
              <a:xfrm>
                <a:off x="1924249" y="1355696"/>
                <a:ext cx="1325878" cy="433480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96" name="Group 85">
                <a:extLst>
                  <a:ext uri="{FF2B5EF4-FFF2-40B4-BE49-F238E27FC236}">
                    <a16:creationId xmlns:a16="http://schemas.microsoft.com/office/drawing/2014/main" id="{28BB2CC0-AD6A-125B-CF58-AA2F5F95A596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97" name="Oval 86">
                  <a:extLst>
                    <a:ext uri="{FF2B5EF4-FFF2-40B4-BE49-F238E27FC236}">
                      <a16:creationId xmlns:a16="http://schemas.microsoft.com/office/drawing/2014/main" id="{AEC2D8D1-1B54-341F-34A2-CA641386BE27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TextBox 87">
                  <a:extLst>
                    <a:ext uri="{FF2B5EF4-FFF2-40B4-BE49-F238E27FC236}">
                      <a16:creationId xmlns:a16="http://schemas.microsoft.com/office/drawing/2014/main" id="{05D328F3-8585-EB2A-A790-613CAF8C6752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 día</a:t>
                  </a:r>
                </a:p>
              </p:txBody>
            </p:sp>
          </p:grpSp>
        </p:grpSp>
        <p:grpSp>
          <p:nvGrpSpPr>
            <p:cNvPr id="90" name="Group 238">
              <a:extLst>
                <a:ext uri="{FF2B5EF4-FFF2-40B4-BE49-F238E27FC236}">
                  <a16:creationId xmlns:a16="http://schemas.microsoft.com/office/drawing/2014/main" id="{2BE9E108-442C-B86F-A0C9-2286E783B653}"/>
                </a:ext>
              </a:extLst>
            </p:cNvPr>
            <p:cNvGrpSpPr/>
            <p:nvPr/>
          </p:nvGrpSpPr>
          <p:grpSpPr>
            <a:xfrm>
              <a:off x="4731618" y="1570754"/>
              <a:ext cx="1325878" cy="429768"/>
              <a:chOff x="4731618" y="3723132"/>
              <a:chExt cx="1325878" cy="429768"/>
            </a:xfrm>
          </p:grpSpPr>
          <p:sp>
            <p:nvSpPr>
              <p:cNvPr id="91" name="TextBox 295">
                <a:extLst>
                  <a:ext uri="{FF2B5EF4-FFF2-40B4-BE49-F238E27FC236}">
                    <a16:creationId xmlns:a16="http://schemas.microsoft.com/office/drawing/2014/main" id="{35BC63C7-C73C-41F0-2667-C134EACB13EF}"/>
                  </a:ext>
                </a:extLst>
              </p:cNvPr>
              <p:cNvSpPr txBox="1"/>
              <p:nvPr/>
            </p:nvSpPr>
            <p:spPr>
              <a:xfrm>
                <a:off x="4731618" y="372313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92" name="Group 296">
                <a:extLst>
                  <a:ext uri="{FF2B5EF4-FFF2-40B4-BE49-F238E27FC236}">
                    <a16:creationId xmlns:a16="http://schemas.microsoft.com/office/drawing/2014/main" id="{47E4DB3A-1991-1691-2159-B3E5905C809B}"/>
                  </a:ext>
                </a:extLst>
              </p:cNvPr>
              <p:cNvGrpSpPr/>
              <p:nvPr/>
            </p:nvGrpSpPr>
            <p:grpSpPr>
              <a:xfrm>
                <a:off x="4826539" y="384657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93" name="Oval 297">
                  <a:extLst>
                    <a:ext uri="{FF2B5EF4-FFF2-40B4-BE49-F238E27FC236}">
                      <a16:creationId xmlns:a16="http://schemas.microsoft.com/office/drawing/2014/main" id="{9878EA9A-7818-DA4E-65C3-04C28D72913C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TextBox 298">
                  <a:extLst>
                    <a:ext uri="{FF2B5EF4-FFF2-40B4-BE49-F238E27FC236}">
                      <a16:creationId xmlns:a16="http://schemas.microsoft.com/office/drawing/2014/main" id="{2B81C6F1-063D-F4F4-071D-CB920D92DC75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5 días</a:t>
                  </a:r>
                </a:p>
              </p:txBody>
            </p:sp>
          </p:grpSp>
        </p:grpSp>
      </p:grpSp>
      <p:grpSp>
        <p:nvGrpSpPr>
          <p:cNvPr id="113" name="Group 6">
            <a:extLst>
              <a:ext uri="{FF2B5EF4-FFF2-40B4-BE49-F238E27FC236}">
                <a16:creationId xmlns:a16="http://schemas.microsoft.com/office/drawing/2014/main" id="{28FAFA57-8D3C-6861-41F2-62FA1490B2B9}"/>
              </a:ext>
            </a:extLst>
          </p:cNvPr>
          <p:cNvGrpSpPr/>
          <p:nvPr/>
        </p:nvGrpSpPr>
        <p:grpSpPr>
          <a:xfrm>
            <a:off x="8065496" y="1447466"/>
            <a:ext cx="1881912" cy="3805037"/>
            <a:chOff x="6135300" y="1085599"/>
            <a:chExt cx="1338124" cy="2853778"/>
          </a:xfrm>
        </p:grpSpPr>
        <p:grpSp>
          <p:nvGrpSpPr>
            <p:cNvPr id="114" name="Group 16">
              <a:extLst>
                <a:ext uri="{FF2B5EF4-FFF2-40B4-BE49-F238E27FC236}">
                  <a16:creationId xmlns:a16="http://schemas.microsoft.com/office/drawing/2014/main" id="{A1969B75-5632-9070-ACD6-1E5F57768B2C}"/>
                </a:ext>
              </a:extLst>
            </p:cNvPr>
            <p:cNvGrpSpPr/>
            <p:nvPr/>
          </p:nvGrpSpPr>
          <p:grpSpPr>
            <a:xfrm>
              <a:off x="6135300" y="1085599"/>
              <a:ext cx="1338124" cy="2853778"/>
              <a:chOff x="2240730" y="2858912"/>
              <a:chExt cx="5557863" cy="3236639"/>
            </a:xfrm>
          </p:grpSpPr>
          <p:sp>
            <p:nvSpPr>
              <p:cNvPr id="147" name="Rectángulo 10">
                <a:extLst>
                  <a:ext uri="{FF2B5EF4-FFF2-40B4-BE49-F238E27FC236}">
                    <a16:creationId xmlns:a16="http://schemas.microsoft.com/office/drawing/2014/main" id="{AB1BDE34-17AE-CF12-EFBE-A91ADF22D5C6}"/>
                  </a:ext>
                </a:extLst>
              </p:cNvPr>
              <p:cNvSpPr/>
              <p:nvPr/>
            </p:nvSpPr>
            <p:spPr>
              <a:xfrm>
                <a:off x="2240730" y="3063749"/>
                <a:ext cx="5507006" cy="3031802"/>
              </a:xfrm>
              <a:prstGeom prst="roundRect">
                <a:avLst>
                  <a:gd name="adj" fmla="val 50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63500" algn="ctr" rotWithShape="0">
                  <a:srgbClr val="000000">
                    <a:alpha val="2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3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8" name="Rectángulo 11">
                <a:extLst>
                  <a:ext uri="{FF2B5EF4-FFF2-40B4-BE49-F238E27FC236}">
                    <a16:creationId xmlns:a16="http://schemas.microsoft.com/office/drawing/2014/main" id="{B2BD9112-F396-D0A9-F53C-CB0AD9596789}"/>
                  </a:ext>
                </a:extLst>
              </p:cNvPr>
              <p:cNvSpPr/>
              <p:nvPr/>
            </p:nvSpPr>
            <p:spPr>
              <a:xfrm>
                <a:off x="2240730" y="2858912"/>
                <a:ext cx="5557863" cy="518537"/>
              </a:xfrm>
              <a:prstGeom prst="round2SameRect">
                <a:avLst/>
              </a:prstGeom>
              <a:solidFill>
                <a:srgbClr val="0028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90" b="1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(Body)"/>
                    <a:ea typeface="+mn-ea"/>
                    <a:cs typeface="+mn-cs"/>
                  </a:rPr>
                  <a:t>Número</a:t>
                </a:r>
                <a:r>
                  <a:rPr kumimoji="0" lang="en-GB" sz="129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(Body)"/>
                    <a:ea typeface="+mn-ea"/>
                    <a:cs typeface="+mn-cs"/>
                  </a:rPr>
                  <a:t> total de </a:t>
                </a:r>
                <a:r>
                  <a:rPr kumimoji="0" lang="en-GB" sz="1290" b="1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(Body)"/>
                    <a:ea typeface="+mn-ea"/>
                    <a:cs typeface="+mn-cs"/>
                  </a:rPr>
                  <a:t>aplicaciones</a:t>
                </a:r>
                <a:endParaRPr kumimoji="0" lang="en-GB" sz="129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(Body)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18">
              <a:extLst>
                <a:ext uri="{FF2B5EF4-FFF2-40B4-BE49-F238E27FC236}">
                  <a16:creationId xmlns:a16="http://schemas.microsoft.com/office/drawing/2014/main" id="{77EB6DD3-1457-5571-6275-990AC65F3785}"/>
                </a:ext>
              </a:extLst>
            </p:cNvPr>
            <p:cNvGrpSpPr/>
            <p:nvPr/>
          </p:nvGrpSpPr>
          <p:grpSpPr>
            <a:xfrm>
              <a:off x="6179735" y="1209336"/>
              <a:ext cx="242625" cy="155644"/>
              <a:chOff x="6179424" y="-195649"/>
              <a:chExt cx="242625" cy="176525"/>
            </a:xfrm>
          </p:grpSpPr>
          <p:grpSp>
            <p:nvGrpSpPr>
              <p:cNvPr id="141" name="Group 19">
                <a:extLst>
                  <a:ext uri="{FF2B5EF4-FFF2-40B4-BE49-F238E27FC236}">
                    <a16:creationId xmlns:a16="http://schemas.microsoft.com/office/drawing/2014/main" id="{7A01AF95-65F4-90BE-BFC7-4E6EF069A7AE}"/>
                  </a:ext>
                </a:extLst>
              </p:cNvPr>
              <p:cNvGrpSpPr/>
              <p:nvPr/>
            </p:nvGrpSpPr>
            <p:grpSpPr>
              <a:xfrm>
                <a:off x="6224536" y="-195649"/>
                <a:ext cx="152400" cy="176525"/>
                <a:chOff x="6230223" y="-195649"/>
                <a:chExt cx="152400" cy="176525"/>
              </a:xfrm>
            </p:grpSpPr>
            <p:cxnSp>
              <p:nvCxnSpPr>
                <p:cNvPr id="143" name="Straight Connector 21">
                  <a:extLst>
                    <a:ext uri="{FF2B5EF4-FFF2-40B4-BE49-F238E27FC236}">
                      <a16:creationId xmlns:a16="http://schemas.microsoft.com/office/drawing/2014/main" id="{BD8E359F-B7EC-8445-9A12-5CA01725EA5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30223" y="-195649"/>
                  <a:ext cx="0" cy="176525"/>
                </a:xfrm>
                <a:prstGeom prst="line">
                  <a:avLst/>
                </a:prstGeom>
                <a:ln w="127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22">
                  <a:extLst>
                    <a:ext uri="{FF2B5EF4-FFF2-40B4-BE49-F238E27FC236}">
                      <a16:creationId xmlns:a16="http://schemas.microsoft.com/office/drawing/2014/main" id="{14EAE585-5479-54C9-95E8-9908B8DF1CC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382623" y="-195649"/>
                  <a:ext cx="0" cy="176525"/>
                </a:xfrm>
                <a:prstGeom prst="line">
                  <a:avLst/>
                </a:prstGeom>
                <a:ln w="127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" name="Straight Connector 23">
                  <a:extLst>
                    <a:ext uri="{FF2B5EF4-FFF2-40B4-BE49-F238E27FC236}">
                      <a16:creationId xmlns:a16="http://schemas.microsoft.com/office/drawing/2014/main" id="{4BC3C9A2-EF0E-2ED9-F571-EDDE9476688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81023" y="-195649"/>
                  <a:ext cx="0" cy="176525"/>
                </a:xfrm>
                <a:prstGeom prst="line">
                  <a:avLst/>
                </a:prstGeom>
                <a:ln w="127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" name="Straight Connector 27">
                  <a:extLst>
                    <a:ext uri="{FF2B5EF4-FFF2-40B4-BE49-F238E27FC236}">
                      <a16:creationId xmlns:a16="http://schemas.microsoft.com/office/drawing/2014/main" id="{777D9471-461B-0C48-F9D7-D9960583690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331823" y="-195649"/>
                  <a:ext cx="0" cy="176525"/>
                </a:xfrm>
                <a:prstGeom prst="line">
                  <a:avLst/>
                </a:prstGeom>
                <a:ln w="127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42" name="Straight Connector 20">
                <a:extLst>
                  <a:ext uri="{FF2B5EF4-FFF2-40B4-BE49-F238E27FC236}">
                    <a16:creationId xmlns:a16="http://schemas.microsoft.com/office/drawing/2014/main" id="{757EC534-64B8-017D-0C8F-0484C1F76E0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179424" y="-156814"/>
                <a:ext cx="242625" cy="98854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6" name="Group 61">
              <a:extLst>
                <a:ext uri="{FF2B5EF4-FFF2-40B4-BE49-F238E27FC236}">
                  <a16:creationId xmlns:a16="http://schemas.microsoft.com/office/drawing/2014/main" id="{FACE05D1-E26D-12D9-E25C-C816201BC1F9}"/>
                </a:ext>
              </a:extLst>
            </p:cNvPr>
            <p:cNvGrpSpPr/>
            <p:nvPr/>
          </p:nvGrpSpPr>
          <p:grpSpPr>
            <a:xfrm>
              <a:off x="6135302" y="2034452"/>
              <a:ext cx="1325878" cy="426591"/>
              <a:chOff x="1924249" y="1389555"/>
              <a:chExt cx="1325878" cy="426591"/>
            </a:xfrm>
          </p:grpSpPr>
          <p:sp>
            <p:nvSpPr>
              <p:cNvPr id="137" name="TextBox 153">
                <a:extLst>
                  <a:ext uri="{FF2B5EF4-FFF2-40B4-BE49-F238E27FC236}">
                    <a16:creationId xmlns:a16="http://schemas.microsoft.com/office/drawing/2014/main" id="{BD38B53F-8D51-B4C5-FED4-CD4E1E36D45F}"/>
                  </a:ext>
                </a:extLst>
              </p:cNvPr>
              <p:cNvSpPr txBox="1"/>
              <p:nvPr/>
            </p:nvSpPr>
            <p:spPr>
              <a:xfrm>
                <a:off x="1924249" y="1389555"/>
                <a:ext cx="1325878" cy="426591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38" name="Group 154">
                <a:extLst>
                  <a:ext uri="{FF2B5EF4-FFF2-40B4-BE49-F238E27FC236}">
                    <a16:creationId xmlns:a16="http://schemas.microsoft.com/office/drawing/2014/main" id="{2A3456F7-10CC-0420-2CB9-F83A67543F68}"/>
                  </a:ext>
                </a:extLst>
              </p:cNvPr>
              <p:cNvGrpSpPr/>
              <p:nvPr/>
            </p:nvGrpSpPr>
            <p:grpSpPr>
              <a:xfrm>
                <a:off x="2019170" y="1511410"/>
                <a:ext cx="1009679" cy="182880"/>
                <a:chOff x="-2439824" y="3298619"/>
                <a:chExt cx="1009679" cy="182880"/>
              </a:xfrm>
            </p:grpSpPr>
            <p:sp>
              <p:nvSpPr>
                <p:cNvPr id="139" name="Oval 155">
                  <a:extLst>
                    <a:ext uri="{FF2B5EF4-FFF2-40B4-BE49-F238E27FC236}">
                      <a16:creationId xmlns:a16="http://schemas.microsoft.com/office/drawing/2014/main" id="{E0AC37A9-5AA8-C2DF-C7E5-44C925757B7A}"/>
                    </a:ext>
                  </a:extLst>
                </p:cNvPr>
                <p:cNvSpPr/>
                <p:nvPr/>
              </p:nvSpPr>
              <p:spPr>
                <a:xfrm>
                  <a:off x="-2439824" y="3321479"/>
                  <a:ext cx="137160" cy="13716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TextBox 156">
                  <a:extLst>
                    <a:ext uri="{FF2B5EF4-FFF2-40B4-BE49-F238E27FC236}">
                      <a16:creationId xmlns:a16="http://schemas.microsoft.com/office/drawing/2014/main" id="{8D8C1B71-BAB5-6286-C75D-7FE7179338BB}"/>
                    </a:ext>
                  </a:extLst>
                </p:cNvPr>
                <p:cNvSpPr txBox="1"/>
                <p:nvPr/>
              </p:nvSpPr>
              <p:spPr>
                <a:xfrm>
                  <a:off x="-2247998" y="3298619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1-56 </a:t>
                  </a:r>
                  <a:r>
                    <a:rPr kumimoji="0" lang="en-US" sz="1333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plicaciones</a:t>
                  </a: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17" name="Group 66">
              <a:extLst>
                <a:ext uri="{FF2B5EF4-FFF2-40B4-BE49-F238E27FC236}">
                  <a16:creationId xmlns:a16="http://schemas.microsoft.com/office/drawing/2014/main" id="{5D5BB6CF-206F-E728-1354-2AD27D29F797}"/>
                </a:ext>
              </a:extLst>
            </p:cNvPr>
            <p:cNvGrpSpPr/>
            <p:nvPr/>
          </p:nvGrpSpPr>
          <p:grpSpPr>
            <a:xfrm>
              <a:off x="6135302" y="2500689"/>
              <a:ext cx="1325878" cy="429770"/>
              <a:chOff x="1924249" y="1357551"/>
              <a:chExt cx="1325878" cy="429770"/>
            </a:xfrm>
          </p:grpSpPr>
          <p:sp>
            <p:nvSpPr>
              <p:cNvPr id="133" name="TextBox 116">
                <a:extLst>
                  <a:ext uri="{FF2B5EF4-FFF2-40B4-BE49-F238E27FC236}">
                    <a16:creationId xmlns:a16="http://schemas.microsoft.com/office/drawing/2014/main" id="{72367D66-10F3-29BE-42CC-68D3C32CB9A1}"/>
                  </a:ext>
                </a:extLst>
              </p:cNvPr>
              <p:cNvSpPr txBox="1"/>
              <p:nvPr/>
            </p:nvSpPr>
            <p:spPr>
              <a:xfrm>
                <a:off x="1924249" y="1357551"/>
                <a:ext cx="1325878" cy="429770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34" name="Group 117">
                <a:extLst>
                  <a:ext uri="{FF2B5EF4-FFF2-40B4-BE49-F238E27FC236}">
                    <a16:creationId xmlns:a16="http://schemas.microsoft.com/office/drawing/2014/main" id="{30DE8F68-89A3-03FD-3ACC-433F48AF9985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135" name="Oval 118">
                  <a:extLst>
                    <a:ext uri="{FF2B5EF4-FFF2-40B4-BE49-F238E27FC236}">
                      <a16:creationId xmlns:a16="http://schemas.microsoft.com/office/drawing/2014/main" id="{198BFF05-AD5A-C3E6-7FC7-16164406BEF3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TextBox 120">
                  <a:extLst>
                    <a:ext uri="{FF2B5EF4-FFF2-40B4-BE49-F238E27FC236}">
                      <a16:creationId xmlns:a16="http://schemas.microsoft.com/office/drawing/2014/main" id="{59953DFE-62A6-3030-9011-B3A84422465C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80 </a:t>
                  </a:r>
                  <a:r>
                    <a:rPr kumimoji="0" lang="en-US" sz="1333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plicaciones</a:t>
                  </a: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18" name="Group 71">
              <a:extLst>
                <a:ext uri="{FF2B5EF4-FFF2-40B4-BE49-F238E27FC236}">
                  <a16:creationId xmlns:a16="http://schemas.microsoft.com/office/drawing/2014/main" id="{029DB742-BD69-937C-42A4-A2F5B3D0CCB6}"/>
                </a:ext>
              </a:extLst>
            </p:cNvPr>
            <p:cNvGrpSpPr/>
            <p:nvPr/>
          </p:nvGrpSpPr>
          <p:grpSpPr>
            <a:xfrm>
              <a:off x="6135302" y="2968517"/>
              <a:ext cx="1325878" cy="429768"/>
              <a:chOff x="1924249" y="1357552"/>
              <a:chExt cx="1325878" cy="429768"/>
            </a:xfrm>
          </p:grpSpPr>
          <p:sp>
            <p:nvSpPr>
              <p:cNvPr id="129" name="TextBox 98">
                <a:extLst>
                  <a:ext uri="{FF2B5EF4-FFF2-40B4-BE49-F238E27FC236}">
                    <a16:creationId xmlns:a16="http://schemas.microsoft.com/office/drawing/2014/main" id="{80790A45-2530-7F2F-E661-ED3B37FC9759}"/>
                  </a:ext>
                </a:extLst>
              </p:cNvPr>
              <p:cNvSpPr txBox="1"/>
              <p:nvPr/>
            </p:nvSpPr>
            <p:spPr>
              <a:xfrm>
                <a:off x="1924249" y="135755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30" name="Group 99">
                <a:extLst>
                  <a:ext uri="{FF2B5EF4-FFF2-40B4-BE49-F238E27FC236}">
                    <a16:creationId xmlns:a16="http://schemas.microsoft.com/office/drawing/2014/main" id="{05DB2A35-B9E4-9EAE-5AE4-D9338F4E2320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131" name="Oval 100">
                  <a:extLst>
                    <a:ext uri="{FF2B5EF4-FFF2-40B4-BE49-F238E27FC236}">
                      <a16:creationId xmlns:a16="http://schemas.microsoft.com/office/drawing/2014/main" id="{45485ABE-0EBC-6213-81F2-F202DAC0C1FF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TextBox 101">
                  <a:extLst>
                    <a:ext uri="{FF2B5EF4-FFF2-40B4-BE49-F238E27FC236}">
                      <a16:creationId xmlns:a16="http://schemas.microsoft.com/office/drawing/2014/main" id="{86459450-39C4-24C1-006C-E7D519261E4A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2 </a:t>
                  </a:r>
                  <a:r>
                    <a:rPr kumimoji="0" lang="en-US" sz="1333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plicaciones</a:t>
                  </a: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19" name="Group 76">
              <a:extLst>
                <a:ext uri="{FF2B5EF4-FFF2-40B4-BE49-F238E27FC236}">
                  <a16:creationId xmlns:a16="http://schemas.microsoft.com/office/drawing/2014/main" id="{F0EA824D-92F9-9C7C-D5DF-CD634CB83396}"/>
                </a:ext>
              </a:extLst>
            </p:cNvPr>
            <p:cNvGrpSpPr/>
            <p:nvPr/>
          </p:nvGrpSpPr>
          <p:grpSpPr>
            <a:xfrm>
              <a:off x="6135302" y="3434488"/>
              <a:ext cx="1325878" cy="433480"/>
              <a:chOff x="1924249" y="1355696"/>
              <a:chExt cx="1325878" cy="433480"/>
            </a:xfrm>
          </p:grpSpPr>
          <p:sp>
            <p:nvSpPr>
              <p:cNvPr id="125" name="TextBox 80">
                <a:extLst>
                  <a:ext uri="{FF2B5EF4-FFF2-40B4-BE49-F238E27FC236}">
                    <a16:creationId xmlns:a16="http://schemas.microsoft.com/office/drawing/2014/main" id="{28856099-2C6C-4A09-9A68-507EC59F466D}"/>
                  </a:ext>
                </a:extLst>
              </p:cNvPr>
              <p:cNvSpPr txBox="1"/>
              <p:nvPr/>
            </p:nvSpPr>
            <p:spPr>
              <a:xfrm>
                <a:off x="1924249" y="1355696"/>
                <a:ext cx="1325878" cy="433480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26" name="Group 81">
                <a:extLst>
                  <a:ext uri="{FF2B5EF4-FFF2-40B4-BE49-F238E27FC236}">
                    <a16:creationId xmlns:a16="http://schemas.microsoft.com/office/drawing/2014/main" id="{789EF06D-8C29-A151-DF1D-3750D96A3080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127" name="Oval 82">
                  <a:extLst>
                    <a:ext uri="{FF2B5EF4-FFF2-40B4-BE49-F238E27FC236}">
                      <a16:creationId xmlns:a16="http://schemas.microsoft.com/office/drawing/2014/main" id="{7FD27A83-8212-449C-5389-EF67B9269E5B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TextBox 83">
                  <a:extLst>
                    <a:ext uri="{FF2B5EF4-FFF2-40B4-BE49-F238E27FC236}">
                      <a16:creationId xmlns:a16="http://schemas.microsoft.com/office/drawing/2014/main" id="{8CF61746-34EC-E63F-C1AB-2BDBAE51A6FE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Once</a:t>
                  </a:r>
                </a:p>
              </p:txBody>
            </p:sp>
          </p:grpSp>
        </p:grpSp>
        <p:grpSp>
          <p:nvGrpSpPr>
            <p:cNvPr id="120" name="Group 263">
              <a:extLst>
                <a:ext uri="{FF2B5EF4-FFF2-40B4-BE49-F238E27FC236}">
                  <a16:creationId xmlns:a16="http://schemas.microsoft.com/office/drawing/2014/main" id="{B2F65D56-73CF-1E35-92BD-E85E7FAC037B}"/>
                </a:ext>
              </a:extLst>
            </p:cNvPr>
            <p:cNvGrpSpPr/>
            <p:nvPr/>
          </p:nvGrpSpPr>
          <p:grpSpPr>
            <a:xfrm>
              <a:off x="6135302" y="1570754"/>
              <a:ext cx="1325878" cy="429768"/>
              <a:chOff x="6135302" y="3723132"/>
              <a:chExt cx="1325878" cy="429768"/>
            </a:xfrm>
          </p:grpSpPr>
          <p:sp>
            <p:nvSpPr>
              <p:cNvPr id="121" name="TextBox 267">
                <a:extLst>
                  <a:ext uri="{FF2B5EF4-FFF2-40B4-BE49-F238E27FC236}">
                    <a16:creationId xmlns:a16="http://schemas.microsoft.com/office/drawing/2014/main" id="{70F00EE1-2645-1F9A-4A06-31EA2EEEEBE7}"/>
                  </a:ext>
                </a:extLst>
              </p:cNvPr>
              <p:cNvSpPr txBox="1"/>
              <p:nvPr/>
            </p:nvSpPr>
            <p:spPr>
              <a:xfrm>
                <a:off x="6135302" y="372313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22" name="Group 268">
                <a:extLst>
                  <a:ext uri="{FF2B5EF4-FFF2-40B4-BE49-F238E27FC236}">
                    <a16:creationId xmlns:a16="http://schemas.microsoft.com/office/drawing/2014/main" id="{5C8BFD4B-98F6-2A0B-407F-2B406BBC75FF}"/>
                  </a:ext>
                </a:extLst>
              </p:cNvPr>
              <p:cNvGrpSpPr/>
              <p:nvPr/>
            </p:nvGrpSpPr>
            <p:grpSpPr>
              <a:xfrm>
                <a:off x="6230223" y="384657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123" name="Oval 293">
                  <a:extLst>
                    <a:ext uri="{FF2B5EF4-FFF2-40B4-BE49-F238E27FC236}">
                      <a16:creationId xmlns:a16="http://schemas.microsoft.com/office/drawing/2014/main" id="{82306E7B-31D6-AD48-CAD7-5E0CA551B8F7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TextBox 294">
                  <a:extLst>
                    <a:ext uri="{FF2B5EF4-FFF2-40B4-BE49-F238E27FC236}">
                      <a16:creationId xmlns:a16="http://schemas.microsoft.com/office/drawing/2014/main" id="{6F81ED2E-7C0E-B7AB-F448-734AB157C13A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33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5 </a:t>
                  </a:r>
                  <a:r>
                    <a:rPr kumimoji="0" lang="en-US" sz="1333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002855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plicaciones</a:t>
                  </a:r>
                  <a:endPara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49" name="Grupo 148">
            <a:extLst>
              <a:ext uri="{FF2B5EF4-FFF2-40B4-BE49-F238E27FC236}">
                <a16:creationId xmlns:a16="http://schemas.microsoft.com/office/drawing/2014/main" id="{892F66BE-B9E8-5690-B488-CFE67306CED8}"/>
              </a:ext>
            </a:extLst>
          </p:cNvPr>
          <p:cNvGrpSpPr/>
          <p:nvPr/>
        </p:nvGrpSpPr>
        <p:grpSpPr>
          <a:xfrm>
            <a:off x="10026288" y="1447467"/>
            <a:ext cx="1997264" cy="3805036"/>
            <a:chOff x="10051982" y="1447467"/>
            <a:chExt cx="1767843" cy="3805036"/>
          </a:xfrm>
        </p:grpSpPr>
        <p:grpSp>
          <p:nvGrpSpPr>
            <p:cNvPr id="150" name="Group 44">
              <a:extLst>
                <a:ext uri="{FF2B5EF4-FFF2-40B4-BE49-F238E27FC236}">
                  <a16:creationId xmlns:a16="http://schemas.microsoft.com/office/drawing/2014/main" id="{8D32DFCB-66E4-9A8F-BDFD-12E46F933FA0}"/>
                </a:ext>
              </a:extLst>
            </p:cNvPr>
            <p:cNvGrpSpPr/>
            <p:nvPr/>
          </p:nvGrpSpPr>
          <p:grpSpPr>
            <a:xfrm>
              <a:off x="10051982" y="1447467"/>
              <a:ext cx="1767840" cy="3805036"/>
              <a:chOff x="2240730" y="2858913"/>
              <a:chExt cx="5507006" cy="2853777"/>
            </a:xfrm>
          </p:grpSpPr>
          <p:sp>
            <p:nvSpPr>
              <p:cNvPr id="166" name="Rectángulo 10">
                <a:extLst>
                  <a:ext uri="{FF2B5EF4-FFF2-40B4-BE49-F238E27FC236}">
                    <a16:creationId xmlns:a16="http://schemas.microsoft.com/office/drawing/2014/main" id="{48AFF0D2-41E4-ECC5-1CE0-D80EAA219233}"/>
                  </a:ext>
                </a:extLst>
              </p:cNvPr>
              <p:cNvSpPr/>
              <p:nvPr/>
            </p:nvSpPr>
            <p:spPr>
              <a:xfrm>
                <a:off x="2240730" y="3063749"/>
                <a:ext cx="5507006" cy="2648941"/>
              </a:xfrm>
              <a:prstGeom prst="roundRect">
                <a:avLst>
                  <a:gd name="adj" fmla="val 50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63500" algn="ctr" rotWithShape="0">
                  <a:srgbClr val="000000">
                    <a:alpha val="2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33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" name="Rectángulo 11">
                <a:extLst>
                  <a:ext uri="{FF2B5EF4-FFF2-40B4-BE49-F238E27FC236}">
                    <a16:creationId xmlns:a16="http://schemas.microsoft.com/office/drawing/2014/main" id="{9C9DC689-0FAF-5D36-4462-0842F55EB328}"/>
                  </a:ext>
                </a:extLst>
              </p:cNvPr>
              <p:cNvSpPr/>
              <p:nvPr/>
            </p:nvSpPr>
            <p:spPr>
              <a:xfrm>
                <a:off x="2240730" y="2858913"/>
                <a:ext cx="5507006" cy="457200"/>
              </a:xfrm>
              <a:prstGeom prst="round2SameRect">
                <a:avLst/>
              </a:prstGeom>
              <a:solidFill>
                <a:srgbClr val="0028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333" b="1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(Body)"/>
                    <a:ea typeface="+mn-ea"/>
                    <a:cs typeface="+mn-cs"/>
                  </a:rPr>
                  <a:t>Características</a:t>
                </a:r>
                <a:r>
                  <a:rPr kumimoji="0" lang="en-GB" sz="1333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(Body)"/>
                    <a:ea typeface="+mn-ea"/>
                    <a:cs typeface="+mn-cs"/>
                  </a:rPr>
                  <a:t> </a:t>
                </a:r>
                <a:r>
                  <a:rPr kumimoji="0" lang="en-GB" sz="1333" b="1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(Body)"/>
                    <a:ea typeface="+mn-ea"/>
                    <a:cs typeface="+mn-cs"/>
                  </a:rPr>
                  <a:t>destacables</a:t>
                </a:r>
                <a:endParaRPr kumimoji="0" lang="en-GB" sz="1333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(Body)"/>
                  <a:ea typeface="+mn-ea"/>
                  <a:cs typeface="+mn-cs"/>
                </a:endParaRPr>
              </a:p>
            </p:txBody>
          </p:sp>
        </p:grpSp>
        <p:pic>
          <p:nvPicPr>
            <p:cNvPr id="151" name="Graphic 45" descr="Warning with solid fill">
              <a:extLst>
                <a:ext uri="{FF2B5EF4-FFF2-40B4-BE49-F238E27FC236}">
                  <a16:creationId xmlns:a16="http://schemas.microsoft.com/office/drawing/2014/main" id="{A699080A-556D-1158-B7F2-3F32AA094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066433" y="1564086"/>
              <a:ext cx="365760" cy="365760"/>
            </a:xfrm>
            <a:prstGeom prst="rect">
              <a:avLst/>
            </a:prstGeom>
          </p:spPr>
        </p:pic>
        <p:grpSp>
          <p:nvGrpSpPr>
            <p:cNvPr id="152" name="Group 62">
              <a:extLst>
                <a:ext uri="{FF2B5EF4-FFF2-40B4-BE49-F238E27FC236}">
                  <a16:creationId xmlns:a16="http://schemas.microsoft.com/office/drawing/2014/main" id="{C1538984-E550-9C3D-EE8A-F62EC620C92A}"/>
                </a:ext>
              </a:extLst>
            </p:cNvPr>
            <p:cNvGrpSpPr/>
            <p:nvPr/>
          </p:nvGrpSpPr>
          <p:grpSpPr>
            <a:xfrm>
              <a:off x="10051985" y="2712603"/>
              <a:ext cx="1767838" cy="568788"/>
              <a:chOff x="1924249" y="1389555"/>
              <a:chExt cx="1325878" cy="426591"/>
            </a:xfrm>
          </p:grpSpPr>
          <p:sp>
            <p:nvSpPr>
              <p:cNvPr id="164" name="TextBox 135">
                <a:extLst>
                  <a:ext uri="{FF2B5EF4-FFF2-40B4-BE49-F238E27FC236}">
                    <a16:creationId xmlns:a16="http://schemas.microsoft.com/office/drawing/2014/main" id="{E389B253-AA2B-7EFA-24DF-40C6500BB0F4}"/>
                  </a:ext>
                </a:extLst>
              </p:cNvPr>
              <p:cNvSpPr txBox="1"/>
              <p:nvPr/>
            </p:nvSpPr>
            <p:spPr>
              <a:xfrm>
                <a:off x="1924249" y="1389555"/>
                <a:ext cx="1325878" cy="42659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5" name="TextBox 152">
                <a:extLst>
                  <a:ext uri="{FF2B5EF4-FFF2-40B4-BE49-F238E27FC236}">
                    <a16:creationId xmlns:a16="http://schemas.microsoft.com/office/drawing/2014/main" id="{B0D4751F-E45C-4550-50B0-D8F02E3AB702}"/>
                  </a:ext>
                </a:extLst>
              </p:cNvPr>
              <p:cNvSpPr txBox="1"/>
              <p:nvPr/>
            </p:nvSpPr>
            <p:spPr>
              <a:xfrm>
                <a:off x="2025443" y="1511410"/>
                <a:ext cx="956144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SRs graves</a:t>
                </a:r>
              </a:p>
            </p:txBody>
          </p:sp>
        </p:grpSp>
        <p:grpSp>
          <p:nvGrpSpPr>
            <p:cNvPr id="153" name="Group 67">
              <a:extLst>
                <a:ext uri="{FF2B5EF4-FFF2-40B4-BE49-F238E27FC236}">
                  <a16:creationId xmlns:a16="http://schemas.microsoft.com/office/drawing/2014/main" id="{5303AB66-88C6-6045-A3AC-98317F0A2E95}"/>
                </a:ext>
              </a:extLst>
            </p:cNvPr>
            <p:cNvGrpSpPr/>
            <p:nvPr/>
          </p:nvGrpSpPr>
          <p:grpSpPr>
            <a:xfrm>
              <a:off x="10051985" y="3334252"/>
              <a:ext cx="1767838" cy="573027"/>
              <a:chOff x="1924249" y="1357551"/>
              <a:chExt cx="1325878" cy="429770"/>
            </a:xfrm>
          </p:grpSpPr>
          <p:sp>
            <p:nvSpPr>
              <p:cNvPr id="162" name="TextBox 114">
                <a:extLst>
                  <a:ext uri="{FF2B5EF4-FFF2-40B4-BE49-F238E27FC236}">
                    <a16:creationId xmlns:a16="http://schemas.microsoft.com/office/drawing/2014/main" id="{DBCCB199-9D84-B554-1A54-DDB4200154E8}"/>
                  </a:ext>
                </a:extLst>
              </p:cNvPr>
              <p:cNvSpPr txBox="1"/>
              <p:nvPr/>
            </p:nvSpPr>
            <p:spPr>
              <a:xfrm>
                <a:off x="1924249" y="1357551"/>
                <a:ext cx="1325878" cy="42977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3" name="TextBox 115">
                <a:extLst>
                  <a:ext uri="{FF2B5EF4-FFF2-40B4-BE49-F238E27FC236}">
                    <a16:creationId xmlns:a16="http://schemas.microsoft.com/office/drawing/2014/main" id="{5E4EE2FB-7197-D91D-6ACB-1E868E723D61}"/>
                  </a:ext>
                </a:extLst>
              </p:cNvPr>
              <p:cNvSpPr txBox="1"/>
              <p:nvPr/>
            </p:nvSpPr>
            <p:spPr>
              <a:xfrm>
                <a:off x="2025443" y="1480996"/>
                <a:ext cx="1071438" cy="182880"/>
              </a:xfrm>
              <a:prstGeom prst="rect">
                <a:avLst/>
              </a:prstGeom>
              <a:noFill/>
            </p:spPr>
            <p:txBody>
              <a:bodyPr wrap="square" lIns="0" rtlCol="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equiere</a:t>
                </a: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un largo </a:t>
                </a:r>
                <a:r>
                  <a:rPr kumimoji="0" lang="en-US" sz="133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eriodo</a:t>
                </a: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de </a:t>
                </a:r>
                <a:r>
                  <a:rPr kumimoji="0" lang="en-US" sz="133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iempo</a:t>
                </a:r>
                <a:endPara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4" name="Group 72">
              <a:extLst>
                <a:ext uri="{FF2B5EF4-FFF2-40B4-BE49-F238E27FC236}">
                  <a16:creationId xmlns:a16="http://schemas.microsoft.com/office/drawing/2014/main" id="{30323B78-055D-CE02-05E0-77B6B34A0810}"/>
                </a:ext>
              </a:extLst>
            </p:cNvPr>
            <p:cNvGrpSpPr/>
            <p:nvPr/>
          </p:nvGrpSpPr>
          <p:grpSpPr>
            <a:xfrm>
              <a:off x="10051985" y="3958023"/>
              <a:ext cx="1767838" cy="573024"/>
              <a:chOff x="1924249" y="1357552"/>
              <a:chExt cx="1325878" cy="429768"/>
            </a:xfrm>
          </p:grpSpPr>
          <p:sp>
            <p:nvSpPr>
              <p:cNvPr id="160" name="TextBox 96">
                <a:extLst>
                  <a:ext uri="{FF2B5EF4-FFF2-40B4-BE49-F238E27FC236}">
                    <a16:creationId xmlns:a16="http://schemas.microsoft.com/office/drawing/2014/main" id="{D5CE910F-B328-4803-9EB8-AF111FB0A406}"/>
                  </a:ext>
                </a:extLst>
              </p:cNvPr>
              <p:cNvSpPr txBox="1"/>
              <p:nvPr/>
            </p:nvSpPr>
            <p:spPr>
              <a:xfrm>
                <a:off x="1924249" y="135755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1" name="TextBox 97">
                <a:extLst>
                  <a:ext uri="{FF2B5EF4-FFF2-40B4-BE49-F238E27FC236}">
                    <a16:creationId xmlns:a16="http://schemas.microsoft.com/office/drawing/2014/main" id="{6AD2C46B-150A-8569-A33F-8BAF27A29255}"/>
                  </a:ext>
                </a:extLst>
              </p:cNvPr>
              <p:cNvSpPr txBox="1"/>
              <p:nvPr/>
            </p:nvSpPr>
            <p:spPr>
              <a:xfrm>
                <a:off x="2025443" y="1480996"/>
                <a:ext cx="936785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SRs graves</a:t>
                </a:r>
              </a:p>
            </p:txBody>
          </p:sp>
        </p:grpSp>
        <p:sp>
          <p:nvSpPr>
            <p:cNvPr id="155" name="TextBox 78">
              <a:extLst>
                <a:ext uri="{FF2B5EF4-FFF2-40B4-BE49-F238E27FC236}">
                  <a16:creationId xmlns:a16="http://schemas.microsoft.com/office/drawing/2014/main" id="{9A997AF5-EF40-1B19-3767-B4B5759DE776}"/>
                </a:ext>
              </a:extLst>
            </p:cNvPr>
            <p:cNvSpPr txBox="1"/>
            <p:nvPr/>
          </p:nvSpPr>
          <p:spPr>
            <a:xfrm>
              <a:off x="10051987" y="4579318"/>
              <a:ext cx="1767838" cy="5779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0" rIns="6096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333" b="1" i="0" u="none" strike="noStrike" kern="0" cap="none" spc="0" normalizeH="0" baseline="3000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TextBox 79">
              <a:extLst>
                <a:ext uri="{FF2B5EF4-FFF2-40B4-BE49-F238E27FC236}">
                  <a16:creationId xmlns:a16="http://schemas.microsoft.com/office/drawing/2014/main" id="{73989F6C-ACB9-1D70-4158-5E87A9A8E20D}"/>
                </a:ext>
              </a:extLst>
            </p:cNvPr>
            <p:cNvSpPr txBox="1"/>
            <p:nvPr/>
          </p:nvSpPr>
          <p:spPr>
            <a:xfrm>
              <a:off x="10167127" y="4675821"/>
              <a:ext cx="1236705" cy="384975"/>
            </a:xfrm>
            <a:prstGeom prst="rect">
              <a:avLst/>
            </a:prstGeom>
            <a:noFill/>
          </p:spPr>
          <p:txBody>
            <a:bodyPr wrap="none" lIns="0" rtlCol="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olor,</a:t>
              </a:r>
            </a:p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33" b="0" i="0" u="none" strike="noStrike" kern="1200" cap="none" spc="0" normalizeH="0" baseline="0" noProof="0" err="1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tamiento</a:t>
              </a:r>
              <a:r>
                <a:rPr kumimoji="0" lang="en-US" sz="1333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en consulta</a:t>
              </a:r>
              <a:endParaRPr kumimoji="0" lang="en-US" sz="1333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57" name="Group 264">
              <a:extLst>
                <a:ext uri="{FF2B5EF4-FFF2-40B4-BE49-F238E27FC236}">
                  <a16:creationId xmlns:a16="http://schemas.microsoft.com/office/drawing/2014/main" id="{7AB49C9B-8B79-BD23-847E-110DF485C8DB}"/>
                </a:ext>
              </a:extLst>
            </p:cNvPr>
            <p:cNvGrpSpPr/>
            <p:nvPr/>
          </p:nvGrpSpPr>
          <p:grpSpPr>
            <a:xfrm>
              <a:off x="10051985" y="2094339"/>
              <a:ext cx="1767838" cy="573024"/>
              <a:chOff x="7538987" y="3723132"/>
              <a:chExt cx="1325878" cy="429768"/>
            </a:xfrm>
          </p:grpSpPr>
          <p:sp>
            <p:nvSpPr>
              <p:cNvPr id="158" name="TextBox 265">
                <a:extLst>
                  <a:ext uri="{FF2B5EF4-FFF2-40B4-BE49-F238E27FC236}">
                    <a16:creationId xmlns:a16="http://schemas.microsoft.com/office/drawing/2014/main" id="{05502E73-D56A-25D6-3375-C5140C48A5D9}"/>
                  </a:ext>
                </a:extLst>
              </p:cNvPr>
              <p:cNvSpPr txBox="1"/>
              <p:nvPr/>
            </p:nvSpPr>
            <p:spPr>
              <a:xfrm>
                <a:off x="7538987" y="372313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9142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333" b="1" i="0" u="none" strike="noStrike" kern="0" cap="none" spc="0" normalizeH="0" baseline="3000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9" name="TextBox 266">
                <a:extLst>
                  <a:ext uri="{FF2B5EF4-FFF2-40B4-BE49-F238E27FC236}">
                    <a16:creationId xmlns:a16="http://schemas.microsoft.com/office/drawing/2014/main" id="{F5F69A6B-2D88-095B-DE39-01B101B03DEA}"/>
                  </a:ext>
                </a:extLst>
              </p:cNvPr>
              <p:cNvSpPr txBox="1"/>
              <p:nvPr/>
            </p:nvSpPr>
            <p:spPr>
              <a:xfrm>
                <a:off x="7656083" y="3846576"/>
                <a:ext cx="920883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SRs </a:t>
                </a:r>
                <a:r>
                  <a:rPr kumimoji="0" lang="en-US" sz="133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eves</a:t>
                </a: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*, </a:t>
                </a:r>
                <a:b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333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uración</a:t>
                </a:r>
                <a:r>
                  <a:rPr kumimoji="0" lang="en-US" sz="1333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5 días</a:t>
                </a:r>
              </a:p>
            </p:txBody>
          </p:sp>
        </p:grpSp>
      </p:grpSp>
      <p:sp>
        <p:nvSpPr>
          <p:cNvPr id="168" name="CuadroTexto 167">
            <a:extLst>
              <a:ext uri="{FF2B5EF4-FFF2-40B4-BE49-F238E27FC236}">
                <a16:creationId xmlns:a16="http://schemas.microsoft.com/office/drawing/2014/main" id="{19A6F768-51B7-8F0E-D92C-4F421E0884E5}"/>
              </a:ext>
            </a:extLst>
          </p:cNvPr>
          <p:cNvSpPr txBox="1"/>
          <p:nvPr/>
        </p:nvSpPr>
        <p:spPr>
          <a:xfrm>
            <a:off x="1857706" y="6073276"/>
            <a:ext cx="8444534" cy="7435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os datos no se basan en ensayos comparativos.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arado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on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tro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tamiento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ópicos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	</a:t>
            </a:r>
          </a:p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lang="en-GB" sz="800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T </a:t>
            </a:r>
            <a:r>
              <a:rPr lang="en-GB" sz="800" err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syri</a:t>
            </a:r>
            <a:r>
              <a:rPr lang="en-GB" sz="800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 mg/g </a:t>
            </a:r>
            <a:r>
              <a:rPr lang="en-GB" sz="800" err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güento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Disponible en: </a:t>
            </a:r>
            <a:r>
              <a:rPr lang="es-ES" sz="800">
                <a:effectLst/>
                <a:hlinkClick r:id="rId10" tooltip="https://cima.aemps.es/cima/pdfs/es/ft/1211558001/ft_1211558001.pdf"/>
              </a:rPr>
              <a:t>https://cima.aemps.es/cima/pdfs/es/ft/1211558001/FT_1211558001.pdf</a:t>
            </a:r>
            <a:r>
              <a:rPr lang="es-ES" sz="800"/>
              <a:t>  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fudix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5% cream.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um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las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racterística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l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cto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GB" sz="800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T </a:t>
            </a:r>
            <a:r>
              <a:rPr lang="en-GB" sz="800" err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araze</a:t>
            </a:r>
            <a:r>
              <a:rPr lang="en-GB" sz="800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% Gel. Disponible en: </a:t>
            </a:r>
            <a:r>
              <a:rPr lang="es-ES_tradnl" sz="800" noProof="1">
                <a:solidFill>
                  <a:srgbClr val="6F6F6F"/>
                </a:solidFill>
                <a:cs typeface="Arial" panose="020B0604020202020204" pitchFamily="34" charset="0"/>
                <a:hlinkClick r:id="rId11"/>
              </a:rPr>
              <a:t>https://cima.aemps.es/cima/dochtml/ft/73714/FT_73714.pdf</a:t>
            </a:r>
            <a:r>
              <a:rPr lang="es-ES_tradnl" sz="800" noProof="1">
                <a:solidFill>
                  <a:srgbClr val="6F6F6F"/>
                </a:solidFill>
                <a:cs typeface="Arial" panose="020B0604020202020204" pitchFamily="34" charset="0"/>
              </a:rPr>
              <a:t>.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 </a:t>
            </a:r>
            <a:r>
              <a:rPr lang="en-GB" sz="800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T </a:t>
            </a:r>
            <a:r>
              <a:rPr lang="en-GB" sz="800" err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unocare</a:t>
            </a:r>
            <a:r>
              <a:rPr lang="en-GB" sz="800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mg/g crema. Disponible en: </a:t>
            </a:r>
            <a:r>
              <a:rPr lang="es-ES_tradnl" sz="800" noProof="1">
                <a:hlinkClick r:id="rId12"/>
              </a:rPr>
              <a:t>https://cima.aemps.es/cima/pdfs/ft/78406/FT_78406.pdf</a:t>
            </a:r>
            <a:r>
              <a:rPr lang="es-ES_tradnl" sz="800" noProof="1"/>
              <a:t>  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.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tvix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60 mg/g crema. </a:t>
            </a:r>
            <a:r>
              <a:rPr lang="en-GB" sz="800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onible en: </a:t>
            </a:r>
            <a:r>
              <a:rPr lang="en-GB" sz="800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  <a:hlinkClick r:id="rId13"/>
              </a:rPr>
              <a:t>https://cima.aemps.es/cima/pdfs/es/p/64968/P_64968.html.pdf</a:t>
            </a:r>
            <a:r>
              <a:rPr lang="en-GB" sz="800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F0BE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7507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>
            <a:extLst>
              <a:ext uri="{FF2B5EF4-FFF2-40B4-BE49-F238E27FC236}">
                <a16:creationId xmlns:a16="http://schemas.microsoft.com/office/drawing/2014/main" id="{E2437CF7-373C-BB50-AA7B-01FBC42A132F}"/>
              </a:ext>
            </a:extLst>
          </p:cNvPr>
          <p:cNvGrpSpPr/>
          <p:nvPr/>
        </p:nvGrpSpPr>
        <p:grpSpPr>
          <a:xfrm>
            <a:off x="3881817" y="824816"/>
            <a:ext cx="3921063" cy="2503538"/>
            <a:chOff x="2147404" y="1135839"/>
            <a:chExt cx="4600682" cy="3349855"/>
          </a:xfrm>
        </p:grpSpPr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3CECDFC6-7887-82B7-30FF-227F59CB1E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47404" y="1135839"/>
              <a:ext cx="4600682" cy="3349855"/>
            </a:xfrm>
            <a:prstGeom prst="rect">
              <a:avLst/>
            </a:prstGeom>
          </p:spPr>
        </p:pic>
        <p:sp>
          <p:nvSpPr>
            <p:cNvPr id="6" name="Elipse 5">
              <a:extLst>
                <a:ext uri="{FF2B5EF4-FFF2-40B4-BE49-F238E27FC236}">
                  <a16:creationId xmlns:a16="http://schemas.microsoft.com/office/drawing/2014/main" id="{20FF948E-DC44-F352-8964-4C2EEBD40775}"/>
                </a:ext>
              </a:extLst>
            </p:cNvPr>
            <p:cNvSpPr/>
            <p:nvPr/>
          </p:nvSpPr>
          <p:spPr>
            <a:xfrm>
              <a:off x="5836257" y="1963972"/>
              <a:ext cx="365760" cy="246491"/>
            </a:xfrm>
            <a:prstGeom prst="ellipse">
              <a:avLst/>
            </a:prstGeom>
            <a:noFill/>
            <a:ln>
              <a:solidFill>
                <a:srgbClr val="F14144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BB3838DD-2E29-AF7A-BB4C-1155E4653C89}"/>
                </a:ext>
              </a:extLst>
            </p:cNvPr>
            <p:cNvSpPr/>
            <p:nvPr/>
          </p:nvSpPr>
          <p:spPr>
            <a:xfrm>
              <a:off x="3857708" y="2486840"/>
              <a:ext cx="365760" cy="246491"/>
            </a:xfrm>
            <a:prstGeom prst="ellipse">
              <a:avLst/>
            </a:prstGeom>
            <a:noFill/>
            <a:ln>
              <a:solidFill>
                <a:srgbClr val="F14144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" name="CuadroTexto 7">
            <a:extLst>
              <a:ext uri="{FF2B5EF4-FFF2-40B4-BE49-F238E27FC236}">
                <a16:creationId xmlns:a16="http://schemas.microsoft.com/office/drawing/2014/main" id="{D36F5EA3-AED8-4277-BE39-2799D266C0A3}"/>
              </a:ext>
            </a:extLst>
          </p:cNvPr>
          <p:cNvSpPr txBox="1"/>
          <p:nvPr/>
        </p:nvSpPr>
        <p:spPr>
          <a:xfrm rot="16200000">
            <a:off x="2970738" y="2041602"/>
            <a:ext cx="1945233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orción de pacientes (%)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0C267EBA-DD14-097D-0B4C-BE52DDCCD69B}"/>
              </a:ext>
            </a:extLst>
          </p:cNvPr>
          <p:cNvGrpSpPr/>
          <p:nvPr/>
        </p:nvGrpSpPr>
        <p:grpSpPr>
          <a:xfrm>
            <a:off x="5251497" y="1753164"/>
            <a:ext cx="487680" cy="330884"/>
            <a:chOff x="3009954" y="4694428"/>
            <a:chExt cx="487680" cy="355600"/>
          </a:xfrm>
        </p:grpSpPr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9B10DADE-29A1-650F-721A-510A76FA6311}"/>
                </a:ext>
              </a:extLst>
            </p:cNvPr>
            <p:cNvSpPr/>
            <p:nvPr/>
          </p:nvSpPr>
          <p:spPr>
            <a:xfrm>
              <a:off x="3009954" y="4694428"/>
              <a:ext cx="487680" cy="3556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692389AD-11E5-17BB-1AB0-0E656ED43706}"/>
                </a:ext>
              </a:extLst>
            </p:cNvPr>
            <p:cNvSpPr txBox="1"/>
            <p:nvPr/>
          </p:nvSpPr>
          <p:spPr>
            <a:xfrm>
              <a:off x="3009954" y="4737575"/>
              <a:ext cx="487680" cy="269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0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9%</a:t>
              </a:r>
              <a:endPara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" name="Grupo 11">
            <a:extLst>
              <a:ext uri="{FF2B5EF4-FFF2-40B4-BE49-F238E27FC236}">
                <a16:creationId xmlns:a16="http://schemas.microsoft.com/office/drawing/2014/main" id="{6A0701F8-0CF8-558E-989D-4107DF238971}"/>
              </a:ext>
            </a:extLst>
          </p:cNvPr>
          <p:cNvGrpSpPr/>
          <p:nvPr/>
        </p:nvGrpSpPr>
        <p:grpSpPr>
          <a:xfrm>
            <a:off x="6937772" y="1370393"/>
            <a:ext cx="487680" cy="330884"/>
            <a:chOff x="3009954" y="4694428"/>
            <a:chExt cx="487680" cy="355600"/>
          </a:xfrm>
        </p:grpSpPr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B2BEDB8D-F5AD-4885-1327-4343C5FC395C}"/>
                </a:ext>
              </a:extLst>
            </p:cNvPr>
            <p:cNvSpPr/>
            <p:nvPr/>
          </p:nvSpPr>
          <p:spPr>
            <a:xfrm>
              <a:off x="3009954" y="4694428"/>
              <a:ext cx="487680" cy="3556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0547DE9A-F80F-0975-8B8F-95F088B0A61F}"/>
                </a:ext>
              </a:extLst>
            </p:cNvPr>
            <p:cNvSpPr txBox="1"/>
            <p:nvPr/>
          </p:nvSpPr>
          <p:spPr>
            <a:xfrm>
              <a:off x="3009954" y="4737575"/>
              <a:ext cx="4876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200" b="0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2%</a:t>
              </a:r>
              <a:endPara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" name="CuadroTexto 14">
            <a:extLst>
              <a:ext uri="{FF2B5EF4-FFF2-40B4-BE49-F238E27FC236}">
                <a16:creationId xmlns:a16="http://schemas.microsoft.com/office/drawing/2014/main" id="{19F015D3-3B31-52EF-C281-8AE2C9D06A82}"/>
              </a:ext>
            </a:extLst>
          </p:cNvPr>
          <p:cNvSpPr txBox="1"/>
          <p:nvPr/>
        </p:nvSpPr>
        <p:spPr>
          <a:xfrm>
            <a:off x="4179985" y="837933"/>
            <a:ext cx="1783935" cy="23626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laramiento completo</a:t>
            </a:r>
            <a:endParaRPr kumimoji="0" lang="es-ES" sz="105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C5C4EEB1-CC66-8A6B-30AE-4B31EA5EB9AF}"/>
              </a:ext>
            </a:extLst>
          </p:cNvPr>
          <p:cNvSpPr txBox="1"/>
          <p:nvPr/>
        </p:nvSpPr>
        <p:spPr>
          <a:xfrm>
            <a:off x="6088213" y="827855"/>
            <a:ext cx="1783935" cy="23626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laramiento parcial</a:t>
            </a:r>
            <a:endParaRPr kumimoji="0" lang="es-ES" sz="105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CD1519B8-B700-05EB-8ED4-6B5AC143B349}"/>
              </a:ext>
            </a:extLst>
          </p:cNvPr>
          <p:cNvSpPr txBox="1"/>
          <p:nvPr/>
        </p:nvSpPr>
        <p:spPr>
          <a:xfrm>
            <a:off x="1963626" y="861236"/>
            <a:ext cx="1793898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udio Fase III</a:t>
            </a:r>
            <a:r>
              <a:rPr kumimoji="0" lang="es-ES_tradnl" sz="1600" b="0" i="0" u="none" strike="noStrike" kern="120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s-ES" sz="1600" b="0" i="0" u="none" strike="noStrike" kern="1200" cap="none" spc="0" normalizeH="0" baseline="3000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426ED9EA-BC6D-016F-429B-0718D285EFF0}"/>
              </a:ext>
            </a:extLst>
          </p:cNvPr>
          <p:cNvSpPr/>
          <p:nvPr/>
        </p:nvSpPr>
        <p:spPr>
          <a:xfrm>
            <a:off x="1615440" y="722075"/>
            <a:ext cx="8229599" cy="5355744"/>
          </a:xfrm>
          <a:prstGeom prst="rect">
            <a:avLst/>
          </a:prstGeom>
          <a:noFill/>
          <a:ln w="9525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78F9C94B-DAD8-2789-DDE0-CF48800581C9}"/>
              </a:ext>
            </a:extLst>
          </p:cNvPr>
          <p:cNvSpPr txBox="1"/>
          <p:nvPr/>
        </p:nvSpPr>
        <p:spPr>
          <a:xfrm>
            <a:off x="1963626" y="3445667"/>
            <a:ext cx="1918191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udio TirbaSkin</a:t>
            </a:r>
            <a:r>
              <a:rPr kumimoji="0" lang="es-ES_tradnl" sz="1600" b="0" i="0" u="none" strike="noStrike" kern="120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C19DBB85-894A-2FCA-AA55-9EEC13701C0B}"/>
              </a:ext>
            </a:extLst>
          </p:cNvPr>
          <p:cNvGrpSpPr/>
          <p:nvPr/>
        </p:nvGrpSpPr>
        <p:grpSpPr>
          <a:xfrm>
            <a:off x="4099260" y="3604144"/>
            <a:ext cx="3407127" cy="2462838"/>
            <a:chOff x="1945340" y="3604144"/>
            <a:chExt cx="3407127" cy="2462838"/>
          </a:xfrm>
        </p:grpSpPr>
        <p:grpSp>
          <p:nvGrpSpPr>
            <p:cNvPr id="21" name="Group 36">
              <a:extLst>
                <a:ext uri="{FF2B5EF4-FFF2-40B4-BE49-F238E27FC236}">
                  <a16:creationId xmlns:a16="http://schemas.microsoft.com/office/drawing/2014/main" id="{CE90873C-6C5B-CB49-B5C6-F2DC061716C4}"/>
                </a:ext>
              </a:extLst>
            </p:cNvPr>
            <p:cNvGrpSpPr/>
            <p:nvPr/>
          </p:nvGrpSpPr>
          <p:grpSpPr>
            <a:xfrm>
              <a:off x="1945340" y="3604144"/>
              <a:ext cx="3407127" cy="2360441"/>
              <a:chOff x="9186420" y="5136780"/>
              <a:chExt cx="9454868" cy="4262209"/>
            </a:xfrm>
          </p:grpSpPr>
          <p:graphicFrame>
            <p:nvGraphicFramePr>
              <p:cNvPr id="24" name="Chart 31">
                <a:extLst>
                  <a:ext uri="{FF2B5EF4-FFF2-40B4-BE49-F238E27FC236}">
                    <a16:creationId xmlns:a16="http://schemas.microsoft.com/office/drawing/2014/main" id="{11507610-10EE-5E88-1FE0-436C20C4CAD3}"/>
                  </a:ext>
                </a:extLst>
              </p:cNvPr>
              <p:cNvGraphicFramePr/>
              <p:nvPr/>
            </p:nvGraphicFramePr>
            <p:xfrm>
              <a:off x="9713289" y="5136780"/>
              <a:ext cx="8927999" cy="418447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25" name="TextBox 32">
                <a:extLst>
                  <a:ext uri="{FF2B5EF4-FFF2-40B4-BE49-F238E27FC236}">
                    <a16:creationId xmlns:a16="http://schemas.microsoft.com/office/drawing/2014/main" id="{43768326-ABB9-EE0B-4D3B-C0F3E1625A9A}"/>
                  </a:ext>
                </a:extLst>
              </p:cNvPr>
              <p:cNvSpPr txBox="1"/>
              <p:nvPr/>
            </p:nvSpPr>
            <p:spPr>
              <a:xfrm rot="16200000">
                <a:off x="8608985" y="6569758"/>
                <a:ext cx="1959017" cy="8041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% Pacientes</a:t>
                </a:r>
              </a:p>
            </p:txBody>
          </p:sp>
          <p:sp>
            <p:nvSpPr>
              <p:cNvPr id="26" name="TextBox 33">
                <a:extLst>
                  <a:ext uri="{FF2B5EF4-FFF2-40B4-BE49-F238E27FC236}">
                    <a16:creationId xmlns:a16="http://schemas.microsoft.com/office/drawing/2014/main" id="{6573A4BB-D222-39F8-AD10-4E50A10FB3A9}"/>
                  </a:ext>
                </a:extLst>
              </p:cNvPr>
              <p:cNvSpPr txBox="1"/>
              <p:nvPr/>
            </p:nvSpPr>
            <p:spPr>
              <a:xfrm>
                <a:off x="9600450" y="8979448"/>
                <a:ext cx="1897085" cy="419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=205</a:t>
                </a:r>
              </a:p>
            </p:txBody>
          </p:sp>
          <p:sp>
            <p:nvSpPr>
              <p:cNvPr id="27" name="TextBox 34">
                <a:extLst>
                  <a:ext uri="{FF2B5EF4-FFF2-40B4-BE49-F238E27FC236}">
                    <a16:creationId xmlns:a16="http://schemas.microsoft.com/office/drawing/2014/main" id="{9E982142-84C3-C3EB-CF78-C509D8E6B4D3}"/>
                  </a:ext>
                </a:extLst>
              </p:cNvPr>
              <p:cNvSpPr txBox="1"/>
              <p:nvPr/>
            </p:nvSpPr>
            <p:spPr>
              <a:xfrm>
                <a:off x="11756137" y="6296598"/>
                <a:ext cx="2366212" cy="7341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51.7% </a:t>
                </a:r>
                <a:r>
                  <a:rPr kumimoji="0" lang="es-E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(N=106)</a:t>
                </a:r>
              </a:p>
            </p:txBody>
          </p:sp>
          <p:sp>
            <p:nvSpPr>
              <p:cNvPr id="28" name="TextBox 35">
                <a:extLst>
                  <a:ext uri="{FF2B5EF4-FFF2-40B4-BE49-F238E27FC236}">
                    <a16:creationId xmlns:a16="http://schemas.microsoft.com/office/drawing/2014/main" id="{A36F0975-1B15-294F-FD71-ABB35A575191}"/>
                  </a:ext>
                </a:extLst>
              </p:cNvPr>
              <p:cNvSpPr txBox="1"/>
              <p:nvPr/>
            </p:nvSpPr>
            <p:spPr>
              <a:xfrm>
                <a:off x="15637475" y="5623783"/>
                <a:ext cx="2116781" cy="7341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72.2%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(N=148)</a:t>
                </a:r>
              </a:p>
            </p:txBody>
          </p:sp>
        </p:grp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81F73EEB-75B3-168B-85D5-DAEE845AF958}"/>
                </a:ext>
              </a:extLst>
            </p:cNvPr>
            <p:cNvSpPr txBox="1"/>
            <p:nvPr/>
          </p:nvSpPr>
          <p:spPr>
            <a:xfrm>
              <a:off x="2639748" y="5651484"/>
              <a:ext cx="1280161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laramiento completo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3D6A44B7-FF54-24F2-7505-B3067318EBE8}"/>
                </a:ext>
              </a:extLst>
            </p:cNvPr>
            <p:cNvSpPr txBox="1"/>
            <p:nvPr/>
          </p:nvSpPr>
          <p:spPr>
            <a:xfrm>
              <a:off x="4062146" y="5651484"/>
              <a:ext cx="1280161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laramiento parcial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9" name="CuadroTexto 28">
            <a:extLst>
              <a:ext uri="{FF2B5EF4-FFF2-40B4-BE49-F238E27FC236}">
                <a16:creationId xmlns:a16="http://schemas.microsoft.com/office/drawing/2014/main" id="{62085235-8B59-A257-C5ED-1EE52D158881}"/>
              </a:ext>
            </a:extLst>
          </p:cNvPr>
          <p:cNvSpPr txBox="1"/>
          <p:nvPr/>
        </p:nvSpPr>
        <p:spPr>
          <a:xfrm>
            <a:off x="1881592" y="6185527"/>
            <a:ext cx="7921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uvelt A, et al. Phase 3 Tirbanibulin for Actinic Keratosis Group. Phase 3 Trials of Tirbanibulin Ointment for Actinic Keratosis. N Engl J Med. 2021 Feb 11;384(6):512-520. </a:t>
            </a: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laberte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Y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t al.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8A8C9D1A-F53F-6357-3E49-4A1EF8482C5B}"/>
              </a:ext>
            </a:extLst>
          </p:cNvPr>
          <p:cNvSpPr txBox="1"/>
          <p:nvPr/>
        </p:nvSpPr>
        <p:spPr>
          <a:xfrm>
            <a:off x="8699555" y="734307"/>
            <a:ext cx="12433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ana 8</a:t>
            </a: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" name="Grupo 30">
            <a:extLst>
              <a:ext uri="{FF2B5EF4-FFF2-40B4-BE49-F238E27FC236}">
                <a16:creationId xmlns:a16="http://schemas.microsoft.com/office/drawing/2014/main" id="{2E5ABB24-D5C7-6E0B-038E-DCD9256FB356}"/>
              </a:ext>
            </a:extLst>
          </p:cNvPr>
          <p:cNvGrpSpPr/>
          <p:nvPr/>
        </p:nvGrpSpPr>
        <p:grpSpPr>
          <a:xfrm>
            <a:off x="8205651" y="2858383"/>
            <a:ext cx="3362960" cy="1218769"/>
            <a:chOff x="1120065" y="1728393"/>
            <a:chExt cx="4722301" cy="960799"/>
          </a:xfrm>
        </p:grpSpPr>
        <p:sp>
          <p:nvSpPr>
            <p:cNvPr id="32" name="Rectángulo 31">
              <a:extLst>
                <a:ext uri="{FF2B5EF4-FFF2-40B4-BE49-F238E27FC236}">
                  <a16:creationId xmlns:a16="http://schemas.microsoft.com/office/drawing/2014/main" id="{ECD10EA2-75E7-67B3-DD67-FBC7CE32A363}"/>
                </a:ext>
              </a:extLst>
            </p:cNvPr>
            <p:cNvSpPr/>
            <p:nvPr/>
          </p:nvSpPr>
          <p:spPr>
            <a:xfrm>
              <a:off x="1120065" y="1728393"/>
              <a:ext cx="4722301" cy="96079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CuadroTexto 32">
              <a:extLst>
                <a:ext uri="{FF2B5EF4-FFF2-40B4-BE49-F238E27FC236}">
                  <a16:creationId xmlns:a16="http://schemas.microsoft.com/office/drawing/2014/main" id="{66DC4900-51BF-D80E-9E0C-AE91DA1405F0}"/>
                </a:ext>
              </a:extLst>
            </p:cNvPr>
            <p:cNvSpPr txBox="1"/>
            <p:nvPr/>
          </p:nvSpPr>
          <p:spPr>
            <a:xfrm>
              <a:off x="1402864" y="1862810"/>
              <a:ext cx="4233022" cy="630841"/>
            </a:xfrm>
            <a:prstGeom prst="rect">
              <a:avLst/>
            </a:prstGeom>
            <a:solidFill>
              <a:srgbClr val="002060"/>
            </a:solidFill>
          </p:spPr>
          <p:txBody>
            <a:bodyPr wrap="square">
              <a:spAutoFit/>
            </a:bodyPr>
            <a:lstStyle/>
            <a:p>
              <a:pPr marL="0" marR="0" lvl="0" indent="0" algn="just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LISYRI</a:t>
              </a:r>
              <a:r>
                <a:rPr kumimoji="0" lang="es-ES" sz="1400" b="0" i="0" u="none" strike="noStrike" kern="1200" cap="none" spc="0" normalizeH="0" baseline="3000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®</a:t>
              </a: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mostró una </a:t>
              </a:r>
              <a:r>
                <a:rPr kumimoji="0" lang="es-ES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asa de aclaramiento parcial </a:t>
              </a: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l </a:t>
              </a:r>
              <a:r>
                <a:rPr kumimoji="0" lang="es-ES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2% </a:t>
              </a: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 línea con los resultados de fase III.</a:t>
              </a:r>
              <a:endPara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5" name="CuadroTexto 34">
            <a:extLst>
              <a:ext uri="{FF2B5EF4-FFF2-40B4-BE49-F238E27FC236}">
                <a16:creationId xmlns:a16="http://schemas.microsoft.com/office/drawing/2014/main" id="{7F416E19-F34B-8483-D320-F75000EA952E}"/>
              </a:ext>
            </a:extLst>
          </p:cNvPr>
          <p:cNvSpPr txBox="1"/>
          <p:nvPr/>
        </p:nvSpPr>
        <p:spPr>
          <a:xfrm>
            <a:off x="594685" y="201634"/>
            <a:ext cx="7812360" cy="388256"/>
          </a:xfrm>
          <a:prstGeom prst="rect">
            <a:avLst/>
          </a:prstGeom>
        </p:spPr>
        <p:txBody>
          <a:bodyPr anchor="ctr"/>
          <a:lstStyle>
            <a:defPPr>
              <a:defRPr lang="es-ES"/>
            </a:defPPr>
            <a:lvl1pPr marR="0" lvl="0" indent="0" defTabSz="914377" fontAlgn="auto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E63D42"/>
                </a:solidFill>
                <a:effectLst/>
                <a:uLnTx/>
                <a:uFillTx/>
                <a:latin typeface="Arial"/>
              </a:defRPr>
            </a:lvl1pPr>
            <a:lvl2pPr marL="457189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>
                <a:solidFill>
                  <a:srgbClr val="002855"/>
                </a:solidFill>
              </a:defRPr>
            </a:lvl2pPr>
            <a:lvl3pPr marL="914377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>
                <a:solidFill>
                  <a:srgbClr val="002855"/>
                </a:solidFill>
              </a:defRPr>
            </a:lvl3pPr>
            <a:lvl4pPr marL="1371566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>
                <a:solidFill>
                  <a:srgbClr val="002855"/>
                </a:solidFill>
              </a:defRPr>
            </a:lvl4pPr>
            <a:lvl5pPr marL="1828754" indent="0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>
                <a:solidFill>
                  <a:srgbClr val="002855"/>
                </a:solidFill>
              </a:defRPr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_tradnl"/>
              <a:t>Eficacia del </a:t>
            </a:r>
            <a:r>
              <a:rPr lang="es-ES"/>
              <a:t>tratamiento con </a:t>
            </a:r>
            <a:r>
              <a:rPr lang="es-ES" err="1"/>
              <a:t>tirbanibulin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064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Personalizado 2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2855"/>
      </a:accent2>
      <a:accent3>
        <a:srgbClr val="00596E"/>
      </a:accent3>
      <a:accent4>
        <a:srgbClr val="008C93"/>
      </a:accent4>
      <a:accent5>
        <a:srgbClr val="00BEA0"/>
      </a:accent5>
      <a:accent6>
        <a:srgbClr val="00F0BE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Personalizado 2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2855"/>
    </a:accent2>
    <a:accent3>
      <a:srgbClr val="00596E"/>
    </a:accent3>
    <a:accent4>
      <a:srgbClr val="008C93"/>
    </a:accent4>
    <a:accent5>
      <a:srgbClr val="00BEA0"/>
    </a:accent5>
    <a:accent6>
      <a:srgbClr val="00F0BE"/>
    </a:accent6>
    <a:hlink>
      <a:srgbClr val="8700D3"/>
    </a:hlink>
    <a:folHlink>
      <a:srgbClr val="8700D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391</Words>
  <Application>Microsoft Office PowerPoint</Application>
  <PresentationFormat>Panorámica</PresentationFormat>
  <Paragraphs>642</Paragraphs>
  <Slides>52</Slides>
  <Notes>5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diapositiva</vt:lpstr>
      </vt:variant>
      <vt:variant>
        <vt:i4>52</vt:i4>
      </vt:variant>
    </vt:vector>
  </HeadingPairs>
  <TitlesOfParts>
    <vt:vector size="54" baseType="lpstr">
      <vt:lpstr>1_Tema de Office</vt:lpstr>
      <vt:lpstr>Office Them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ASO CLÍNICO PONENTE 1</vt:lpstr>
      <vt:lpstr>Presentación de PowerPoint</vt:lpstr>
      <vt:lpstr>Presentación de PowerPoint</vt:lpstr>
      <vt:lpstr>Presentación de PowerPoint</vt:lpstr>
      <vt:lpstr>Presentación de PowerPoint</vt:lpstr>
      <vt:lpstr>CASO CLÍNICO PONENTE 2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Almira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ristina Rosell Arevalo</dc:creator>
  <cp:lastModifiedBy>Nora Dieguez Martínez</cp:lastModifiedBy>
  <cp:revision>3</cp:revision>
  <dcterms:created xsi:type="dcterms:W3CDTF">2024-04-19T09:19:35Z</dcterms:created>
  <dcterms:modified xsi:type="dcterms:W3CDTF">2024-10-11T11:3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33616b6-00a5-4cd1-b577-93208fa93eb1_Enabled">
    <vt:lpwstr>true</vt:lpwstr>
  </property>
  <property fmtid="{D5CDD505-2E9C-101B-9397-08002B2CF9AE}" pid="3" name="MSIP_Label_533616b6-00a5-4cd1-b577-93208fa93eb1_SetDate">
    <vt:lpwstr>2024-04-19T09:19:58Z</vt:lpwstr>
  </property>
  <property fmtid="{D5CDD505-2E9C-101B-9397-08002B2CF9AE}" pid="4" name="MSIP_Label_533616b6-00a5-4cd1-b577-93208fa93eb1_Method">
    <vt:lpwstr>Standard</vt:lpwstr>
  </property>
  <property fmtid="{D5CDD505-2E9C-101B-9397-08002B2CF9AE}" pid="5" name="MSIP_Label_533616b6-00a5-4cd1-b577-93208fa93eb1_Name">
    <vt:lpwstr>Internal Use</vt:lpwstr>
  </property>
  <property fmtid="{D5CDD505-2E9C-101B-9397-08002B2CF9AE}" pid="6" name="MSIP_Label_533616b6-00a5-4cd1-b577-93208fa93eb1_SiteId">
    <vt:lpwstr>342ace0e-1054-45ce-9b30-900fc0440b9d</vt:lpwstr>
  </property>
  <property fmtid="{D5CDD505-2E9C-101B-9397-08002B2CF9AE}" pid="7" name="MSIP_Label_533616b6-00a5-4cd1-b577-93208fa93eb1_ActionId">
    <vt:lpwstr>986c00d5-a59c-4477-8256-1d3e3a67f399</vt:lpwstr>
  </property>
  <property fmtid="{D5CDD505-2E9C-101B-9397-08002B2CF9AE}" pid="8" name="MSIP_Label_533616b6-00a5-4cd1-b577-93208fa93eb1_ContentBits">
    <vt:lpwstr>1</vt:lpwstr>
  </property>
  <property fmtid="{D5CDD505-2E9C-101B-9397-08002B2CF9AE}" pid="9" name="ClassificationContentMarkingHeaderLocations">
    <vt:lpwstr>Tema de Office:8\1_Tema de Office:8</vt:lpwstr>
  </property>
  <property fmtid="{D5CDD505-2E9C-101B-9397-08002B2CF9AE}" pid="10" name="ClassificationContentMarkingHeaderText">
    <vt:lpwstr>INTERNAL USE</vt:lpwstr>
  </property>
</Properties>
</file>